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handoutMasterIdLst>
    <p:handoutMasterId r:id="rId21"/>
  </p:handoutMasterIdLst>
  <p:sldIdLst>
    <p:sldId id="256" r:id="rId5"/>
    <p:sldId id="2147483546" r:id="rId6"/>
    <p:sldId id="2147483551" r:id="rId7"/>
    <p:sldId id="2147483548" r:id="rId8"/>
    <p:sldId id="2134805201" r:id="rId9"/>
    <p:sldId id="2147483556" r:id="rId10"/>
    <p:sldId id="2147483557" r:id="rId11"/>
    <p:sldId id="2147483554" r:id="rId12"/>
    <p:sldId id="2147483558" r:id="rId13"/>
    <p:sldId id="266" r:id="rId14"/>
    <p:sldId id="263" r:id="rId15"/>
    <p:sldId id="2147483560" r:id="rId16"/>
    <p:sldId id="2147483553" r:id="rId17"/>
    <p:sldId id="265" r:id="rId18"/>
    <p:sldId id="258" r:id="rId19"/>
  </p:sldIdLst>
  <p:sldSz cx="12195175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3" orient="horz" pos="3793">
          <p15:clr>
            <a:srgbClr val="A4A3A4"/>
          </p15:clr>
        </p15:guide>
        <p15:guide id="6" pos="303">
          <p15:clr>
            <a:srgbClr val="A4A3A4"/>
          </p15:clr>
        </p15:guide>
        <p15:guide id="7" pos="7379">
          <p15:clr>
            <a:srgbClr val="A4A3A4"/>
          </p15:clr>
        </p15:guide>
        <p15:guide id="9" orient="horz" pos="981" userDrawn="1">
          <p15:clr>
            <a:srgbClr val="A4A3A4"/>
          </p15:clr>
        </p15:guide>
        <p15:guide id="10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nna Virtanen" initials="S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B948"/>
    <a:srgbClr val="ECEDEF"/>
    <a:srgbClr val="FFFFFF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E94ADD-12E8-42D1-85C5-0FA7DDB17986}" v="143" dt="2025-11-26T18:05:26.911"/>
    <p1510:client id="{A630F9B0-8BC6-41BC-914D-9902353C108E}" v="241" dt="2025-11-27T11:20:07.6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2160"/>
        <p:guide orient="horz" pos="3793"/>
        <p:guide pos="303"/>
        <p:guide pos="7379"/>
        <p:guide orient="horz" pos="981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svg"/><Relationship Id="rId1" Type="http://schemas.openxmlformats.org/officeDocument/2006/relationships/image" Target="../media/image63.png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66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svg"/><Relationship Id="rId1" Type="http://schemas.openxmlformats.org/officeDocument/2006/relationships/image" Target="../media/image63.png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6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E5E54C-C55A-43D4-B40A-1BBED96CA9F1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41DA458D-E8D2-4E4E-BE83-F3E3A9059290}">
      <dgm:prSet phldrT="[Text]"/>
      <dgm:spPr/>
      <dgm:t>
        <a:bodyPr/>
        <a:lstStyle/>
        <a:p>
          <a:r>
            <a:rPr lang="en-US" b="1"/>
            <a:t>Information Capture </a:t>
          </a:r>
          <a:r>
            <a:rPr lang="en-US"/>
            <a:t>(Sales → Marketing)</a:t>
          </a:r>
        </a:p>
        <a:p>
          <a:r>
            <a:rPr lang="en-US"/>
            <a:t>Sales shares updates: projects, milestones, customer  success stories.</a:t>
          </a:r>
        </a:p>
      </dgm:t>
    </dgm:pt>
    <dgm:pt modelId="{725F4233-78CD-45B5-8FAC-53C445A29684}" type="parTrans" cxnId="{14DDFA2E-9D3A-4C3F-AD04-5EAF953B1D87}">
      <dgm:prSet/>
      <dgm:spPr/>
      <dgm:t>
        <a:bodyPr/>
        <a:lstStyle/>
        <a:p>
          <a:endParaRPr lang="en-US"/>
        </a:p>
      </dgm:t>
    </dgm:pt>
    <dgm:pt modelId="{F885AA4A-EE09-4331-84E1-5DF433B2F8CB}" type="sibTrans" cxnId="{14DDFA2E-9D3A-4C3F-AD04-5EAF953B1D87}">
      <dgm:prSet/>
      <dgm:spPr/>
      <dgm:t>
        <a:bodyPr/>
        <a:lstStyle/>
        <a:p>
          <a:endParaRPr lang="en-US"/>
        </a:p>
      </dgm:t>
    </dgm:pt>
    <dgm:pt modelId="{76F3938C-F518-450A-86E4-E12DFD76808F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/>
            <a:t>Prioritization </a:t>
          </a:r>
        </a:p>
        <a:p>
          <a:pPr>
            <a:buFont typeface="Arial" panose="020B0604020202020204" pitchFamily="34" charset="0"/>
            <a:buChar char="•"/>
          </a:pPr>
          <a:r>
            <a:rPr lang="en-US" b="0"/>
            <a:t>Marketing evaluates: </a:t>
          </a:r>
        </a:p>
        <a:p>
          <a:pPr>
            <a:buFont typeface="Arial" panose="020B0604020202020204" pitchFamily="34" charset="0"/>
            <a:buChar char="•"/>
          </a:pPr>
          <a:r>
            <a:rPr lang="en-US" b="0"/>
            <a:t>Strategic relevance</a:t>
          </a:r>
        </a:p>
        <a:p>
          <a:pPr>
            <a:buFont typeface="Arial" panose="020B0604020202020204" pitchFamily="34" charset="0"/>
            <a:buChar char="•"/>
          </a:pPr>
          <a:r>
            <a:rPr lang="en-US" b="0"/>
            <a:t>Timing</a:t>
          </a:r>
        </a:p>
        <a:p>
          <a:pPr>
            <a:buFont typeface="Arial" panose="020B0604020202020204" pitchFamily="34" charset="0"/>
            <a:buChar char="•"/>
          </a:pPr>
          <a:r>
            <a:rPr lang="en-US" b="0"/>
            <a:t> Available resources</a:t>
          </a:r>
        </a:p>
      </dgm:t>
    </dgm:pt>
    <dgm:pt modelId="{DC126E1D-F747-4B2B-A3C5-85197F0B0AAF}" type="parTrans" cxnId="{AC0AAA28-2129-4C26-84C4-2FEEE7B29D40}">
      <dgm:prSet/>
      <dgm:spPr/>
      <dgm:t>
        <a:bodyPr/>
        <a:lstStyle/>
        <a:p>
          <a:endParaRPr lang="en-US"/>
        </a:p>
      </dgm:t>
    </dgm:pt>
    <dgm:pt modelId="{B2684306-E15B-4197-B907-5829E2B00401}" type="sibTrans" cxnId="{AC0AAA28-2129-4C26-84C4-2FEEE7B29D40}">
      <dgm:prSet/>
      <dgm:spPr/>
      <dgm:t>
        <a:bodyPr/>
        <a:lstStyle/>
        <a:p>
          <a:endParaRPr lang="en-US"/>
        </a:p>
      </dgm:t>
    </dgm:pt>
    <dgm:pt modelId="{59352B88-F969-460A-85EC-4D1C1AEA8D59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/>
            <a:t>Content Creation</a:t>
          </a:r>
          <a:endParaRPr lang="en-US"/>
        </a:p>
        <a:p>
          <a:pPr>
            <a:buFont typeface="Arial" panose="020B0604020202020204" pitchFamily="34" charset="0"/>
            <a:buChar char="•"/>
          </a:pPr>
          <a:r>
            <a:rPr lang="en-US"/>
            <a:t>Marketing drafts and designs.</a:t>
          </a:r>
        </a:p>
        <a:p>
          <a:pPr>
            <a:buFont typeface="Arial" panose="020B0604020202020204" pitchFamily="34" charset="0"/>
            <a:buChar char="•"/>
          </a:pPr>
          <a:r>
            <a:rPr lang="en-US"/>
            <a:t>Sales reviews critical details such as technical information</a:t>
          </a:r>
        </a:p>
      </dgm:t>
    </dgm:pt>
    <dgm:pt modelId="{3736E81E-A120-40CE-8E7F-F35EE713C00C}" type="parTrans" cxnId="{7AAC1697-28F5-4A5C-8003-062115995CE7}">
      <dgm:prSet/>
      <dgm:spPr/>
      <dgm:t>
        <a:bodyPr/>
        <a:lstStyle/>
        <a:p>
          <a:endParaRPr lang="en-US"/>
        </a:p>
      </dgm:t>
    </dgm:pt>
    <dgm:pt modelId="{A7C0A54E-C000-4E16-ADF3-3CD34EDE8066}" type="sibTrans" cxnId="{7AAC1697-28F5-4A5C-8003-062115995CE7}">
      <dgm:prSet/>
      <dgm:spPr/>
      <dgm:t>
        <a:bodyPr/>
        <a:lstStyle/>
        <a:p>
          <a:endParaRPr lang="en-US"/>
        </a:p>
      </dgm:t>
    </dgm:pt>
    <dgm:pt modelId="{05D77DEC-BFC0-4C3F-8146-5EC53BD8A852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/>
            <a:t>Format Definition</a:t>
          </a:r>
          <a:endParaRPr lang="en-US"/>
        </a:p>
        <a:p>
          <a:pPr>
            <a:buFont typeface="Arial" panose="020B0604020202020204" pitchFamily="34" charset="0"/>
            <a:buChar char="•"/>
          </a:pPr>
          <a:r>
            <a:rPr lang="en-US"/>
            <a:t>Decide if it will be a social media post, website/external article,  newsletter, video, or webinar.</a:t>
          </a:r>
        </a:p>
        <a:p>
          <a:pPr>
            <a:buFont typeface="Arial" panose="020B0604020202020204" pitchFamily="34" charset="0"/>
            <a:buChar char="•"/>
          </a:pPr>
          <a:r>
            <a:rPr lang="en-US"/>
            <a:t> Technical validation is needed from Sales</a:t>
          </a:r>
        </a:p>
      </dgm:t>
    </dgm:pt>
    <dgm:pt modelId="{117C52B5-56DB-4877-BB27-87FD2DD54E19}" type="parTrans" cxnId="{B7AFE829-9E63-4203-A9A1-C79DE0C2F985}">
      <dgm:prSet/>
      <dgm:spPr/>
      <dgm:t>
        <a:bodyPr/>
        <a:lstStyle/>
        <a:p>
          <a:endParaRPr lang="en-US"/>
        </a:p>
      </dgm:t>
    </dgm:pt>
    <dgm:pt modelId="{6A3ACCCE-B5F7-4EDB-9D29-7A580F60A80D}" type="sibTrans" cxnId="{B7AFE829-9E63-4203-A9A1-C79DE0C2F985}">
      <dgm:prSet/>
      <dgm:spPr/>
      <dgm:t>
        <a:bodyPr/>
        <a:lstStyle/>
        <a:p>
          <a:endParaRPr lang="en-US"/>
        </a:p>
      </dgm:t>
    </dgm:pt>
    <dgm:pt modelId="{1FD7842E-B93E-4B77-82E7-AE24C8B6B47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/>
            <a:t>Publication and Distribution</a:t>
          </a:r>
          <a:endParaRPr lang="en-US"/>
        </a:p>
        <a:p>
          <a:pPr>
            <a:buFont typeface="Arial" panose="020B0604020202020204" pitchFamily="34" charset="0"/>
            <a:buChar char="•"/>
          </a:pPr>
          <a:r>
            <a:rPr lang="en-US"/>
            <a:t>Marketing publishes on official channels, after customer validation.</a:t>
          </a:r>
        </a:p>
        <a:p>
          <a:pPr>
            <a:buFont typeface="Arial" panose="020B0604020202020204" pitchFamily="34" charset="0"/>
            <a:buChar char="•"/>
          </a:pPr>
          <a:r>
            <a:rPr lang="en-US"/>
            <a:t>Sales amplifies through personal networks and customer sharing</a:t>
          </a:r>
        </a:p>
      </dgm:t>
    </dgm:pt>
    <dgm:pt modelId="{45B709B6-04AB-4FB8-996D-514B704286C9}" type="parTrans" cxnId="{A00A04EB-8418-4DEA-BBCD-B579D4932681}">
      <dgm:prSet/>
      <dgm:spPr/>
      <dgm:t>
        <a:bodyPr/>
        <a:lstStyle/>
        <a:p>
          <a:endParaRPr lang="en-US"/>
        </a:p>
      </dgm:t>
    </dgm:pt>
    <dgm:pt modelId="{DB6E7592-F49B-4CF4-9719-22F6446C678A}" type="sibTrans" cxnId="{A00A04EB-8418-4DEA-BBCD-B579D4932681}">
      <dgm:prSet/>
      <dgm:spPr/>
      <dgm:t>
        <a:bodyPr/>
        <a:lstStyle/>
        <a:p>
          <a:endParaRPr lang="en-US"/>
        </a:p>
      </dgm:t>
    </dgm:pt>
    <dgm:pt modelId="{38ADA58C-60FB-4CEF-95A1-D75F1F19E19F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/>
            <a:t>Feedback Loop</a:t>
          </a:r>
          <a:endParaRPr lang="en-US"/>
        </a:p>
        <a:p>
          <a:pPr>
            <a:buFont typeface="Arial" panose="020B0604020202020204" pitchFamily="34" charset="0"/>
            <a:buChar char="•"/>
          </a:pPr>
          <a:r>
            <a:rPr lang="en-US"/>
            <a:t>Sales reports impact Marketing tracks metrics (reach, engagement, </a:t>
          </a:r>
          <a:r>
            <a:rPr lang="en-US" err="1"/>
            <a:t>etc</a:t>
          </a:r>
          <a:r>
            <a:rPr lang="en-US"/>
            <a:t>).</a:t>
          </a:r>
        </a:p>
      </dgm:t>
    </dgm:pt>
    <dgm:pt modelId="{D25A1B4E-5502-4E4A-991A-FDF91CAB7E87}" type="parTrans" cxnId="{A7E02684-2A6F-4A4C-9557-11230D8C49E0}">
      <dgm:prSet/>
      <dgm:spPr/>
      <dgm:t>
        <a:bodyPr/>
        <a:lstStyle/>
        <a:p>
          <a:endParaRPr lang="en-US"/>
        </a:p>
      </dgm:t>
    </dgm:pt>
    <dgm:pt modelId="{5DC303A1-7650-4499-BF1B-105472430111}" type="sibTrans" cxnId="{A7E02684-2A6F-4A4C-9557-11230D8C49E0}">
      <dgm:prSet/>
      <dgm:spPr/>
      <dgm:t>
        <a:bodyPr/>
        <a:lstStyle/>
        <a:p>
          <a:endParaRPr lang="en-US"/>
        </a:p>
      </dgm:t>
    </dgm:pt>
    <dgm:pt modelId="{A3CED592-3194-4A21-BD95-01F77445DFB2}" type="pres">
      <dgm:prSet presAssocID="{62E5E54C-C55A-43D4-B40A-1BBED96CA9F1}" presName="Name0" presStyleCnt="0">
        <dgm:presLayoutVars>
          <dgm:dir/>
          <dgm:resizeHandles val="exact"/>
        </dgm:presLayoutVars>
      </dgm:prSet>
      <dgm:spPr/>
    </dgm:pt>
    <dgm:pt modelId="{C19EC479-D79A-4FE4-A2EE-C2BE1C2A8BC2}" type="pres">
      <dgm:prSet presAssocID="{41DA458D-E8D2-4E4E-BE83-F3E3A9059290}" presName="node" presStyleLbl="node1" presStyleIdx="0" presStyleCnt="6">
        <dgm:presLayoutVars>
          <dgm:bulletEnabled val="1"/>
        </dgm:presLayoutVars>
      </dgm:prSet>
      <dgm:spPr/>
    </dgm:pt>
    <dgm:pt modelId="{BFE0B080-8B5C-441F-B7C8-348BACB2F91D}" type="pres">
      <dgm:prSet presAssocID="{F885AA4A-EE09-4331-84E1-5DF433B2F8CB}" presName="sibTrans" presStyleLbl="sibTrans1D1" presStyleIdx="0" presStyleCnt="5"/>
      <dgm:spPr/>
    </dgm:pt>
    <dgm:pt modelId="{40A9D8D3-5C7C-46D0-BE9E-36EA047EC4E5}" type="pres">
      <dgm:prSet presAssocID="{F885AA4A-EE09-4331-84E1-5DF433B2F8CB}" presName="connectorText" presStyleLbl="sibTrans1D1" presStyleIdx="0" presStyleCnt="5"/>
      <dgm:spPr/>
    </dgm:pt>
    <dgm:pt modelId="{E0AB88DF-B386-4754-95F8-4E32D4C12A12}" type="pres">
      <dgm:prSet presAssocID="{76F3938C-F518-450A-86E4-E12DFD76808F}" presName="node" presStyleLbl="node1" presStyleIdx="1" presStyleCnt="6">
        <dgm:presLayoutVars>
          <dgm:bulletEnabled val="1"/>
        </dgm:presLayoutVars>
      </dgm:prSet>
      <dgm:spPr/>
    </dgm:pt>
    <dgm:pt modelId="{420736FF-96C6-44D1-A3C0-DE27FBE2AD83}" type="pres">
      <dgm:prSet presAssocID="{B2684306-E15B-4197-B907-5829E2B00401}" presName="sibTrans" presStyleLbl="sibTrans1D1" presStyleIdx="1" presStyleCnt="5"/>
      <dgm:spPr/>
    </dgm:pt>
    <dgm:pt modelId="{D569EEA9-E32F-4132-B858-0244A9932203}" type="pres">
      <dgm:prSet presAssocID="{B2684306-E15B-4197-B907-5829E2B00401}" presName="connectorText" presStyleLbl="sibTrans1D1" presStyleIdx="1" presStyleCnt="5"/>
      <dgm:spPr/>
    </dgm:pt>
    <dgm:pt modelId="{F543E5D3-8C70-492A-9B68-B5E82756CD99}" type="pres">
      <dgm:prSet presAssocID="{05D77DEC-BFC0-4C3F-8146-5EC53BD8A852}" presName="node" presStyleLbl="node1" presStyleIdx="2" presStyleCnt="6">
        <dgm:presLayoutVars>
          <dgm:bulletEnabled val="1"/>
        </dgm:presLayoutVars>
      </dgm:prSet>
      <dgm:spPr/>
    </dgm:pt>
    <dgm:pt modelId="{BC5919A2-677C-43E0-9E58-775F7D33ECC9}" type="pres">
      <dgm:prSet presAssocID="{6A3ACCCE-B5F7-4EDB-9D29-7A580F60A80D}" presName="sibTrans" presStyleLbl="sibTrans1D1" presStyleIdx="2" presStyleCnt="5"/>
      <dgm:spPr/>
    </dgm:pt>
    <dgm:pt modelId="{21E1B91C-7808-4A31-BA34-74FE213DFEC2}" type="pres">
      <dgm:prSet presAssocID="{6A3ACCCE-B5F7-4EDB-9D29-7A580F60A80D}" presName="connectorText" presStyleLbl="sibTrans1D1" presStyleIdx="2" presStyleCnt="5"/>
      <dgm:spPr/>
    </dgm:pt>
    <dgm:pt modelId="{F3F62E83-6F5B-402E-8680-207A5E554FDA}" type="pres">
      <dgm:prSet presAssocID="{59352B88-F969-460A-85EC-4D1C1AEA8D59}" presName="node" presStyleLbl="node1" presStyleIdx="3" presStyleCnt="6">
        <dgm:presLayoutVars>
          <dgm:bulletEnabled val="1"/>
        </dgm:presLayoutVars>
      </dgm:prSet>
      <dgm:spPr/>
    </dgm:pt>
    <dgm:pt modelId="{0E9D0039-1FCF-4318-9F8C-8DE96A0D8851}" type="pres">
      <dgm:prSet presAssocID="{A7C0A54E-C000-4E16-ADF3-3CD34EDE8066}" presName="sibTrans" presStyleLbl="sibTrans1D1" presStyleIdx="3" presStyleCnt="5"/>
      <dgm:spPr/>
    </dgm:pt>
    <dgm:pt modelId="{2F9EBFA3-A7AF-4C39-BA21-C40B87B54CC2}" type="pres">
      <dgm:prSet presAssocID="{A7C0A54E-C000-4E16-ADF3-3CD34EDE8066}" presName="connectorText" presStyleLbl="sibTrans1D1" presStyleIdx="3" presStyleCnt="5"/>
      <dgm:spPr/>
    </dgm:pt>
    <dgm:pt modelId="{CE6A95AB-0505-4F76-965B-53BEDE5B43DA}" type="pres">
      <dgm:prSet presAssocID="{1FD7842E-B93E-4B77-82E7-AE24C8B6B47E}" presName="node" presStyleLbl="node1" presStyleIdx="4" presStyleCnt="6">
        <dgm:presLayoutVars>
          <dgm:bulletEnabled val="1"/>
        </dgm:presLayoutVars>
      </dgm:prSet>
      <dgm:spPr/>
    </dgm:pt>
    <dgm:pt modelId="{B18C39DA-E5F6-4FCD-9720-B2A6A9753BB0}" type="pres">
      <dgm:prSet presAssocID="{DB6E7592-F49B-4CF4-9719-22F6446C678A}" presName="sibTrans" presStyleLbl="sibTrans1D1" presStyleIdx="4" presStyleCnt="5"/>
      <dgm:spPr/>
    </dgm:pt>
    <dgm:pt modelId="{CFBBBE74-5E5B-4316-97CB-8F521C8A3E6B}" type="pres">
      <dgm:prSet presAssocID="{DB6E7592-F49B-4CF4-9719-22F6446C678A}" presName="connectorText" presStyleLbl="sibTrans1D1" presStyleIdx="4" presStyleCnt="5"/>
      <dgm:spPr/>
    </dgm:pt>
    <dgm:pt modelId="{41E97414-E218-4E84-825E-CB124628A35E}" type="pres">
      <dgm:prSet presAssocID="{38ADA58C-60FB-4CEF-95A1-D75F1F19E19F}" presName="node" presStyleLbl="node1" presStyleIdx="5" presStyleCnt="6">
        <dgm:presLayoutVars>
          <dgm:bulletEnabled val="1"/>
        </dgm:presLayoutVars>
      </dgm:prSet>
      <dgm:spPr/>
    </dgm:pt>
  </dgm:ptLst>
  <dgm:cxnLst>
    <dgm:cxn modelId="{62418205-ADB0-45CF-BB8D-92E92B2EA4AA}" type="presOf" srcId="{B2684306-E15B-4197-B907-5829E2B00401}" destId="{420736FF-96C6-44D1-A3C0-DE27FBE2AD83}" srcOrd="0" destOrd="0" presId="urn:microsoft.com/office/officeart/2016/7/layout/RepeatingBendingProcessNew"/>
    <dgm:cxn modelId="{251A1D07-BD29-4E50-90CA-B1CB946F3224}" type="presOf" srcId="{62E5E54C-C55A-43D4-B40A-1BBED96CA9F1}" destId="{A3CED592-3194-4A21-BD95-01F77445DFB2}" srcOrd="0" destOrd="0" presId="urn:microsoft.com/office/officeart/2016/7/layout/RepeatingBendingProcessNew"/>
    <dgm:cxn modelId="{11493B08-7010-41F6-A5E3-26B01426421D}" type="presOf" srcId="{6A3ACCCE-B5F7-4EDB-9D29-7A580F60A80D}" destId="{BC5919A2-677C-43E0-9E58-775F7D33ECC9}" srcOrd="0" destOrd="0" presId="urn:microsoft.com/office/officeart/2016/7/layout/RepeatingBendingProcessNew"/>
    <dgm:cxn modelId="{AB688F0D-BB10-4857-BAB7-9F46E52B235F}" type="presOf" srcId="{38ADA58C-60FB-4CEF-95A1-D75F1F19E19F}" destId="{41E97414-E218-4E84-825E-CB124628A35E}" srcOrd="0" destOrd="0" presId="urn:microsoft.com/office/officeart/2016/7/layout/RepeatingBendingProcessNew"/>
    <dgm:cxn modelId="{F695BB1C-2CE0-4C7F-926B-DC55BB86FB6D}" type="presOf" srcId="{B2684306-E15B-4197-B907-5829E2B00401}" destId="{D569EEA9-E32F-4132-B858-0244A9932203}" srcOrd="1" destOrd="0" presId="urn:microsoft.com/office/officeart/2016/7/layout/RepeatingBendingProcessNew"/>
    <dgm:cxn modelId="{40D25A1F-7297-4AEA-B067-4D5322EEF0C2}" type="presOf" srcId="{F885AA4A-EE09-4331-84E1-5DF433B2F8CB}" destId="{BFE0B080-8B5C-441F-B7C8-348BACB2F91D}" srcOrd="0" destOrd="0" presId="urn:microsoft.com/office/officeart/2016/7/layout/RepeatingBendingProcessNew"/>
    <dgm:cxn modelId="{AC0AAA28-2129-4C26-84C4-2FEEE7B29D40}" srcId="{62E5E54C-C55A-43D4-B40A-1BBED96CA9F1}" destId="{76F3938C-F518-450A-86E4-E12DFD76808F}" srcOrd="1" destOrd="0" parTransId="{DC126E1D-F747-4B2B-A3C5-85197F0B0AAF}" sibTransId="{B2684306-E15B-4197-B907-5829E2B00401}"/>
    <dgm:cxn modelId="{B7AFE829-9E63-4203-A9A1-C79DE0C2F985}" srcId="{62E5E54C-C55A-43D4-B40A-1BBED96CA9F1}" destId="{05D77DEC-BFC0-4C3F-8146-5EC53BD8A852}" srcOrd="2" destOrd="0" parTransId="{117C52B5-56DB-4877-BB27-87FD2DD54E19}" sibTransId="{6A3ACCCE-B5F7-4EDB-9D29-7A580F60A80D}"/>
    <dgm:cxn modelId="{14DDFA2E-9D3A-4C3F-AD04-5EAF953B1D87}" srcId="{62E5E54C-C55A-43D4-B40A-1BBED96CA9F1}" destId="{41DA458D-E8D2-4E4E-BE83-F3E3A9059290}" srcOrd="0" destOrd="0" parTransId="{725F4233-78CD-45B5-8FAC-53C445A29684}" sibTransId="{F885AA4A-EE09-4331-84E1-5DF433B2F8CB}"/>
    <dgm:cxn modelId="{4FA29043-10E5-4588-8861-62078C481B43}" type="presOf" srcId="{05D77DEC-BFC0-4C3F-8146-5EC53BD8A852}" destId="{F543E5D3-8C70-492A-9B68-B5E82756CD99}" srcOrd="0" destOrd="0" presId="urn:microsoft.com/office/officeart/2016/7/layout/RepeatingBendingProcessNew"/>
    <dgm:cxn modelId="{D4814368-6AD4-4348-909B-FE374FE6B0EA}" type="presOf" srcId="{A7C0A54E-C000-4E16-ADF3-3CD34EDE8066}" destId="{2F9EBFA3-A7AF-4C39-BA21-C40B87B54CC2}" srcOrd="1" destOrd="0" presId="urn:microsoft.com/office/officeart/2016/7/layout/RepeatingBendingProcessNew"/>
    <dgm:cxn modelId="{F832A449-19BF-4BB9-939E-6605A35564A1}" type="presOf" srcId="{DB6E7592-F49B-4CF4-9719-22F6446C678A}" destId="{CFBBBE74-5E5B-4316-97CB-8F521C8A3E6B}" srcOrd="1" destOrd="0" presId="urn:microsoft.com/office/officeart/2016/7/layout/RepeatingBendingProcessNew"/>
    <dgm:cxn modelId="{54F9836D-05BA-433B-94B9-D5782457E5CE}" type="presOf" srcId="{A7C0A54E-C000-4E16-ADF3-3CD34EDE8066}" destId="{0E9D0039-1FCF-4318-9F8C-8DE96A0D8851}" srcOrd="0" destOrd="0" presId="urn:microsoft.com/office/officeart/2016/7/layout/RepeatingBendingProcessNew"/>
    <dgm:cxn modelId="{14C4A46F-201A-403D-AA19-33E0F208FEA3}" type="presOf" srcId="{76F3938C-F518-450A-86E4-E12DFD76808F}" destId="{E0AB88DF-B386-4754-95F8-4E32D4C12A12}" srcOrd="0" destOrd="0" presId="urn:microsoft.com/office/officeart/2016/7/layout/RepeatingBendingProcessNew"/>
    <dgm:cxn modelId="{091F3472-2FC4-4DDC-8967-A6897A8753FC}" type="presOf" srcId="{F885AA4A-EE09-4331-84E1-5DF433B2F8CB}" destId="{40A9D8D3-5C7C-46D0-BE9E-36EA047EC4E5}" srcOrd="1" destOrd="0" presId="urn:microsoft.com/office/officeart/2016/7/layout/RepeatingBendingProcessNew"/>
    <dgm:cxn modelId="{5758A17F-77D7-47FE-9265-4B506C96C684}" type="presOf" srcId="{6A3ACCCE-B5F7-4EDB-9D29-7A580F60A80D}" destId="{21E1B91C-7808-4A31-BA34-74FE213DFEC2}" srcOrd="1" destOrd="0" presId="urn:microsoft.com/office/officeart/2016/7/layout/RepeatingBendingProcessNew"/>
    <dgm:cxn modelId="{A7E02684-2A6F-4A4C-9557-11230D8C49E0}" srcId="{62E5E54C-C55A-43D4-B40A-1BBED96CA9F1}" destId="{38ADA58C-60FB-4CEF-95A1-D75F1F19E19F}" srcOrd="5" destOrd="0" parTransId="{D25A1B4E-5502-4E4A-991A-FDF91CAB7E87}" sibTransId="{5DC303A1-7650-4499-BF1B-105472430111}"/>
    <dgm:cxn modelId="{7AAC1697-28F5-4A5C-8003-062115995CE7}" srcId="{62E5E54C-C55A-43D4-B40A-1BBED96CA9F1}" destId="{59352B88-F969-460A-85EC-4D1C1AEA8D59}" srcOrd="3" destOrd="0" parTransId="{3736E81E-A120-40CE-8E7F-F35EE713C00C}" sibTransId="{A7C0A54E-C000-4E16-ADF3-3CD34EDE8066}"/>
    <dgm:cxn modelId="{FFAF7CA4-5D27-4BAE-BA03-16FED83B8924}" type="presOf" srcId="{1FD7842E-B93E-4B77-82E7-AE24C8B6B47E}" destId="{CE6A95AB-0505-4F76-965B-53BEDE5B43DA}" srcOrd="0" destOrd="0" presId="urn:microsoft.com/office/officeart/2016/7/layout/RepeatingBendingProcessNew"/>
    <dgm:cxn modelId="{D2D27EA8-848D-4114-951A-4B3B9EBB4A07}" type="presOf" srcId="{59352B88-F969-460A-85EC-4D1C1AEA8D59}" destId="{F3F62E83-6F5B-402E-8680-207A5E554FDA}" srcOrd="0" destOrd="0" presId="urn:microsoft.com/office/officeart/2016/7/layout/RepeatingBendingProcessNew"/>
    <dgm:cxn modelId="{874E6ACC-38D6-414E-B740-6E7643FE92E7}" type="presOf" srcId="{41DA458D-E8D2-4E4E-BE83-F3E3A9059290}" destId="{C19EC479-D79A-4FE4-A2EE-C2BE1C2A8BC2}" srcOrd="0" destOrd="0" presId="urn:microsoft.com/office/officeart/2016/7/layout/RepeatingBendingProcessNew"/>
    <dgm:cxn modelId="{A74054D1-78A1-4007-B4BC-4CBD0410C456}" type="presOf" srcId="{DB6E7592-F49B-4CF4-9719-22F6446C678A}" destId="{B18C39DA-E5F6-4FCD-9720-B2A6A9753BB0}" srcOrd="0" destOrd="0" presId="urn:microsoft.com/office/officeart/2016/7/layout/RepeatingBendingProcessNew"/>
    <dgm:cxn modelId="{A00A04EB-8418-4DEA-BBCD-B579D4932681}" srcId="{62E5E54C-C55A-43D4-B40A-1BBED96CA9F1}" destId="{1FD7842E-B93E-4B77-82E7-AE24C8B6B47E}" srcOrd="4" destOrd="0" parTransId="{45B709B6-04AB-4FB8-996D-514B704286C9}" sibTransId="{DB6E7592-F49B-4CF4-9719-22F6446C678A}"/>
    <dgm:cxn modelId="{D1A04224-1596-4694-819A-1F5DA6FA1B90}" type="presParOf" srcId="{A3CED592-3194-4A21-BD95-01F77445DFB2}" destId="{C19EC479-D79A-4FE4-A2EE-C2BE1C2A8BC2}" srcOrd="0" destOrd="0" presId="urn:microsoft.com/office/officeart/2016/7/layout/RepeatingBendingProcessNew"/>
    <dgm:cxn modelId="{D97BF475-06BB-4CB3-AB36-2FC656E2FB5A}" type="presParOf" srcId="{A3CED592-3194-4A21-BD95-01F77445DFB2}" destId="{BFE0B080-8B5C-441F-B7C8-348BACB2F91D}" srcOrd="1" destOrd="0" presId="urn:microsoft.com/office/officeart/2016/7/layout/RepeatingBendingProcessNew"/>
    <dgm:cxn modelId="{30F64D2A-9CE6-4434-BDD1-DA1E85094900}" type="presParOf" srcId="{BFE0B080-8B5C-441F-B7C8-348BACB2F91D}" destId="{40A9D8D3-5C7C-46D0-BE9E-36EA047EC4E5}" srcOrd="0" destOrd="0" presId="urn:microsoft.com/office/officeart/2016/7/layout/RepeatingBendingProcessNew"/>
    <dgm:cxn modelId="{C71B5B14-8E74-425D-98DB-CAC956ED1E7D}" type="presParOf" srcId="{A3CED592-3194-4A21-BD95-01F77445DFB2}" destId="{E0AB88DF-B386-4754-95F8-4E32D4C12A12}" srcOrd="2" destOrd="0" presId="urn:microsoft.com/office/officeart/2016/7/layout/RepeatingBendingProcessNew"/>
    <dgm:cxn modelId="{79DB3C9D-999B-489E-844E-AB9A27664791}" type="presParOf" srcId="{A3CED592-3194-4A21-BD95-01F77445DFB2}" destId="{420736FF-96C6-44D1-A3C0-DE27FBE2AD83}" srcOrd="3" destOrd="0" presId="urn:microsoft.com/office/officeart/2016/7/layout/RepeatingBendingProcessNew"/>
    <dgm:cxn modelId="{3BC46D6D-6B0B-452A-AD09-F72841F4BB45}" type="presParOf" srcId="{420736FF-96C6-44D1-A3C0-DE27FBE2AD83}" destId="{D569EEA9-E32F-4132-B858-0244A9932203}" srcOrd="0" destOrd="0" presId="urn:microsoft.com/office/officeart/2016/7/layout/RepeatingBendingProcessNew"/>
    <dgm:cxn modelId="{1827CCE1-487A-434D-A009-C1DAAC394584}" type="presParOf" srcId="{A3CED592-3194-4A21-BD95-01F77445DFB2}" destId="{F543E5D3-8C70-492A-9B68-B5E82756CD99}" srcOrd="4" destOrd="0" presId="urn:microsoft.com/office/officeart/2016/7/layout/RepeatingBendingProcessNew"/>
    <dgm:cxn modelId="{3B2F5F88-74D8-4151-A3C0-D917383AE925}" type="presParOf" srcId="{A3CED592-3194-4A21-BD95-01F77445DFB2}" destId="{BC5919A2-677C-43E0-9E58-775F7D33ECC9}" srcOrd="5" destOrd="0" presId="urn:microsoft.com/office/officeart/2016/7/layout/RepeatingBendingProcessNew"/>
    <dgm:cxn modelId="{484575DD-1B24-424A-AD6C-B05BBA008058}" type="presParOf" srcId="{BC5919A2-677C-43E0-9E58-775F7D33ECC9}" destId="{21E1B91C-7808-4A31-BA34-74FE213DFEC2}" srcOrd="0" destOrd="0" presId="urn:microsoft.com/office/officeart/2016/7/layout/RepeatingBendingProcessNew"/>
    <dgm:cxn modelId="{7EB49A7D-6698-402D-B900-72E3D871ED3A}" type="presParOf" srcId="{A3CED592-3194-4A21-BD95-01F77445DFB2}" destId="{F3F62E83-6F5B-402E-8680-207A5E554FDA}" srcOrd="6" destOrd="0" presId="urn:microsoft.com/office/officeart/2016/7/layout/RepeatingBendingProcessNew"/>
    <dgm:cxn modelId="{F714A209-D762-480D-9116-DD47C4A57E0B}" type="presParOf" srcId="{A3CED592-3194-4A21-BD95-01F77445DFB2}" destId="{0E9D0039-1FCF-4318-9F8C-8DE96A0D8851}" srcOrd="7" destOrd="0" presId="urn:microsoft.com/office/officeart/2016/7/layout/RepeatingBendingProcessNew"/>
    <dgm:cxn modelId="{690FD846-A9F3-4DA0-A4AD-4F6DC83B07C0}" type="presParOf" srcId="{0E9D0039-1FCF-4318-9F8C-8DE96A0D8851}" destId="{2F9EBFA3-A7AF-4C39-BA21-C40B87B54CC2}" srcOrd="0" destOrd="0" presId="urn:microsoft.com/office/officeart/2016/7/layout/RepeatingBendingProcessNew"/>
    <dgm:cxn modelId="{DCCB831B-3A8E-4AD3-A1CA-094FE7F544E4}" type="presParOf" srcId="{A3CED592-3194-4A21-BD95-01F77445DFB2}" destId="{CE6A95AB-0505-4F76-965B-53BEDE5B43DA}" srcOrd="8" destOrd="0" presId="urn:microsoft.com/office/officeart/2016/7/layout/RepeatingBendingProcessNew"/>
    <dgm:cxn modelId="{1228F1E1-5426-404C-8B1B-60E9D6D42F27}" type="presParOf" srcId="{A3CED592-3194-4A21-BD95-01F77445DFB2}" destId="{B18C39DA-E5F6-4FCD-9720-B2A6A9753BB0}" srcOrd="9" destOrd="0" presId="urn:microsoft.com/office/officeart/2016/7/layout/RepeatingBendingProcessNew"/>
    <dgm:cxn modelId="{93403E51-24A1-4835-AB3B-30196D79B375}" type="presParOf" srcId="{B18C39DA-E5F6-4FCD-9720-B2A6A9753BB0}" destId="{CFBBBE74-5E5B-4316-97CB-8F521C8A3E6B}" srcOrd="0" destOrd="0" presId="urn:microsoft.com/office/officeart/2016/7/layout/RepeatingBendingProcessNew"/>
    <dgm:cxn modelId="{8B64ABFB-35FF-4FCE-AB8B-C1806E3C8048}" type="presParOf" srcId="{A3CED592-3194-4A21-BD95-01F77445DFB2}" destId="{41E97414-E218-4E84-825E-CB124628A35E}" srcOrd="10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4B031D-198F-4850-B760-C1B2EFC03C1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569FCF-5DBB-4CE2-B396-CF96E192A118}">
      <dgm:prSet phldrT="[Text]" phldr="0"/>
      <dgm:spPr/>
      <dgm:t>
        <a:bodyPr/>
        <a:lstStyle/>
        <a:p>
          <a:r>
            <a:rPr lang="en-US"/>
            <a:t>Define priorities</a:t>
          </a:r>
        </a:p>
      </dgm:t>
    </dgm:pt>
    <dgm:pt modelId="{CF4BBFC9-648F-4BC1-9C63-AB419859FAC1}" type="parTrans" cxnId="{0D534DB3-DB74-4D72-ADAA-D30FE40E1D0C}">
      <dgm:prSet/>
      <dgm:spPr/>
      <dgm:t>
        <a:bodyPr/>
        <a:lstStyle/>
        <a:p>
          <a:endParaRPr lang="en-US"/>
        </a:p>
      </dgm:t>
    </dgm:pt>
    <dgm:pt modelId="{3A2EF09E-0777-4814-8EB8-23988BC1CD5E}" type="sibTrans" cxnId="{0D534DB3-DB74-4D72-ADAA-D30FE40E1D0C}">
      <dgm:prSet/>
      <dgm:spPr/>
      <dgm:t>
        <a:bodyPr/>
        <a:lstStyle/>
        <a:p>
          <a:endParaRPr lang="en-US"/>
        </a:p>
      </dgm:t>
    </dgm:pt>
    <dgm:pt modelId="{5D90A19D-865B-4D3B-9FB2-BF11F532B001}">
      <dgm:prSet phldrT="[Text]" phldr="0"/>
      <dgm:spPr/>
      <dgm:t>
        <a:bodyPr/>
        <a:lstStyle/>
        <a:p>
          <a:r>
            <a:rPr lang="en-US"/>
            <a:t>Strengthen sales collaboration</a:t>
          </a:r>
        </a:p>
      </dgm:t>
    </dgm:pt>
    <dgm:pt modelId="{22283CE7-DECD-41C3-9187-1245812537E6}" type="parTrans" cxnId="{0E298088-F97E-45EA-A778-126ECE61CBA9}">
      <dgm:prSet/>
      <dgm:spPr/>
      <dgm:t>
        <a:bodyPr/>
        <a:lstStyle/>
        <a:p>
          <a:endParaRPr lang="en-US"/>
        </a:p>
      </dgm:t>
    </dgm:pt>
    <dgm:pt modelId="{59F316DD-BA70-45F0-8745-A6243805549B}" type="sibTrans" cxnId="{0E298088-F97E-45EA-A778-126ECE61CBA9}">
      <dgm:prSet/>
      <dgm:spPr/>
      <dgm:t>
        <a:bodyPr/>
        <a:lstStyle/>
        <a:p>
          <a:endParaRPr lang="en-US"/>
        </a:p>
      </dgm:t>
    </dgm:pt>
    <dgm:pt modelId="{1BC973C3-9A54-49E2-9614-9C025A85463C}">
      <dgm:prSet phldrT="[Text]" phldr="0"/>
      <dgm:spPr/>
      <dgm:t>
        <a:bodyPr/>
        <a:lstStyle/>
        <a:p>
          <a:r>
            <a:rPr lang="en-US"/>
            <a:t>Focus on high-impact action</a:t>
          </a:r>
        </a:p>
      </dgm:t>
    </dgm:pt>
    <dgm:pt modelId="{EEC14F89-142D-4C25-A16F-F7D677612F9E}" type="parTrans" cxnId="{24610A19-446F-48C7-BA59-75FC054BD4E2}">
      <dgm:prSet/>
      <dgm:spPr/>
      <dgm:t>
        <a:bodyPr/>
        <a:lstStyle/>
        <a:p>
          <a:endParaRPr lang="en-US"/>
        </a:p>
      </dgm:t>
    </dgm:pt>
    <dgm:pt modelId="{D3662AFC-E656-4027-895A-2CA5FA3D6E90}" type="sibTrans" cxnId="{24610A19-446F-48C7-BA59-75FC054BD4E2}">
      <dgm:prSet/>
      <dgm:spPr/>
      <dgm:t>
        <a:bodyPr/>
        <a:lstStyle/>
        <a:p>
          <a:endParaRPr lang="en-US"/>
        </a:p>
      </dgm:t>
    </dgm:pt>
    <dgm:pt modelId="{6BCB30BE-0673-4C01-99EA-951A1D9CB469}">
      <dgm:prSet phldrT="[Text]" phldr="0"/>
      <dgm:spPr/>
      <dgm:t>
        <a:bodyPr/>
        <a:lstStyle/>
        <a:p>
          <a:r>
            <a:rPr lang="en-US"/>
            <a:t>Data-driven decisions</a:t>
          </a:r>
        </a:p>
      </dgm:t>
    </dgm:pt>
    <dgm:pt modelId="{92218707-A5EA-4B88-930B-4B4CED8F2A70}" type="parTrans" cxnId="{2FA43D22-DF61-493F-8F71-014BCF2F2C2E}">
      <dgm:prSet/>
      <dgm:spPr/>
      <dgm:t>
        <a:bodyPr/>
        <a:lstStyle/>
        <a:p>
          <a:endParaRPr lang="en-US"/>
        </a:p>
      </dgm:t>
    </dgm:pt>
    <dgm:pt modelId="{322C67D0-5148-4FF7-9259-609EFAF11814}" type="sibTrans" cxnId="{2FA43D22-DF61-493F-8F71-014BCF2F2C2E}">
      <dgm:prSet/>
      <dgm:spPr/>
      <dgm:t>
        <a:bodyPr/>
        <a:lstStyle/>
        <a:p>
          <a:endParaRPr lang="en-US"/>
        </a:p>
      </dgm:t>
    </dgm:pt>
    <dgm:pt modelId="{2CE5AB59-8D1D-4636-BF73-573024E4E98D}">
      <dgm:prSet phldrT="[Text]" phldr="0"/>
      <dgm:spPr/>
      <dgm:t>
        <a:bodyPr/>
        <a:lstStyle/>
        <a:p>
          <a:r>
            <a:rPr lang="en-US"/>
            <a:t>Empower and innovate</a:t>
          </a:r>
        </a:p>
      </dgm:t>
    </dgm:pt>
    <dgm:pt modelId="{FAB15BAC-3F2F-47B5-99DF-99C7BB820B42}" type="parTrans" cxnId="{C9F2AB27-DE49-471F-9EEE-56BF0733DD10}">
      <dgm:prSet/>
      <dgm:spPr/>
      <dgm:t>
        <a:bodyPr/>
        <a:lstStyle/>
        <a:p>
          <a:endParaRPr lang="en-US"/>
        </a:p>
      </dgm:t>
    </dgm:pt>
    <dgm:pt modelId="{2E2C9969-97B1-47E2-AD2F-7517E1AE9E5E}" type="sibTrans" cxnId="{C9F2AB27-DE49-471F-9EEE-56BF0733DD10}">
      <dgm:prSet/>
      <dgm:spPr/>
      <dgm:t>
        <a:bodyPr/>
        <a:lstStyle/>
        <a:p>
          <a:endParaRPr lang="en-US"/>
        </a:p>
      </dgm:t>
    </dgm:pt>
    <dgm:pt modelId="{389CFB5F-63A9-4565-ABC2-2C2F18D5F1CC}">
      <dgm:prSet phldrT="[Text]" phldr="0"/>
      <dgm:spPr/>
      <dgm:t>
        <a:bodyPr/>
        <a:lstStyle/>
        <a:p>
          <a:r>
            <a:rPr lang="en-US"/>
            <a:t>Celebrate wins!</a:t>
          </a:r>
        </a:p>
      </dgm:t>
    </dgm:pt>
    <dgm:pt modelId="{A4D8C1D1-1610-4C29-8148-7DF790A73C14}" type="parTrans" cxnId="{21EEA746-437F-4CF4-A2F9-556FD9C6F26A}">
      <dgm:prSet/>
      <dgm:spPr/>
      <dgm:t>
        <a:bodyPr/>
        <a:lstStyle/>
        <a:p>
          <a:endParaRPr lang="en-US"/>
        </a:p>
      </dgm:t>
    </dgm:pt>
    <dgm:pt modelId="{CE1EBE5B-5523-4354-A700-8263CB56A740}" type="sibTrans" cxnId="{21EEA746-437F-4CF4-A2F9-556FD9C6F26A}">
      <dgm:prSet/>
      <dgm:spPr/>
      <dgm:t>
        <a:bodyPr/>
        <a:lstStyle/>
        <a:p>
          <a:endParaRPr lang="en-US"/>
        </a:p>
      </dgm:t>
    </dgm:pt>
    <dgm:pt modelId="{992D9612-DE7E-4FC1-A295-AE36FC8A1CC5}" type="pres">
      <dgm:prSet presAssocID="{674B031D-198F-4850-B760-C1B2EFC03C1A}" presName="Name0" presStyleCnt="0">
        <dgm:presLayoutVars>
          <dgm:dir/>
          <dgm:animLvl val="lvl"/>
          <dgm:resizeHandles val="exact"/>
        </dgm:presLayoutVars>
      </dgm:prSet>
      <dgm:spPr/>
    </dgm:pt>
    <dgm:pt modelId="{0508A5FF-D981-4DF7-9401-D5EDD07732BE}" type="pres">
      <dgm:prSet presAssocID="{17569FCF-5DBB-4CE2-B396-CF96E192A118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2F572E70-95DD-4F76-90EE-F20E5CBF38E5}" type="pres">
      <dgm:prSet presAssocID="{3A2EF09E-0777-4814-8EB8-23988BC1CD5E}" presName="parTxOnlySpace" presStyleCnt="0"/>
      <dgm:spPr/>
    </dgm:pt>
    <dgm:pt modelId="{547767F0-976C-4CB0-A923-7D8B4969A0C0}" type="pres">
      <dgm:prSet presAssocID="{5D90A19D-865B-4D3B-9FB2-BF11F532B001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FAC9513A-B412-446E-ABBB-5A02AE7D5021}" type="pres">
      <dgm:prSet presAssocID="{59F316DD-BA70-45F0-8745-A6243805549B}" presName="parTxOnlySpace" presStyleCnt="0"/>
      <dgm:spPr/>
    </dgm:pt>
    <dgm:pt modelId="{92CCD080-E9C2-4294-8978-3BAD945CF4F4}" type="pres">
      <dgm:prSet presAssocID="{1BC973C3-9A54-49E2-9614-9C025A85463C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3C946230-A95A-425E-A87A-1EC1285D7A80}" type="pres">
      <dgm:prSet presAssocID="{D3662AFC-E656-4027-895A-2CA5FA3D6E90}" presName="parTxOnlySpace" presStyleCnt="0"/>
      <dgm:spPr/>
    </dgm:pt>
    <dgm:pt modelId="{F1C8E2E9-CF2C-4086-B002-6B801A42F578}" type="pres">
      <dgm:prSet presAssocID="{6BCB30BE-0673-4C01-99EA-951A1D9CB469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DB4AD484-9808-4B91-BAAC-D1AB3E86F635}" type="pres">
      <dgm:prSet presAssocID="{322C67D0-5148-4FF7-9259-609EFAF11814}" presName="parTxOnlySpace" presStyleCnt="0"/>
      <dgm:spPr/>
    </dgm:pt>
    <dgm:pt modelId="{89089307-983B-4B13-BF4A-BD4AE1B603CE}" type="pres">
      <dgm:prSet presAssocID="{2CE5AB59-8D1D-4636-BF73-573024E4E98D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E315241E-2C7D-4300-9985-26894813E015}" type="pres">
      <dgm:prSet presAssocID="{2E2C9969-97B1-47E2-AD2F-7517E1AE9E5E}" presName="parTxOnlySpace" presStyleCnt="0"/>
      <dgm:spPr/>
    </dgm:pt>
    <dgm:pt modelId="{DFB67493-286D-4A52-82FF-BF0CAD472658}" type="pres">
      <dgm:prSet presAssocID="{389CFB5F-63A9-4565-ABC2-2C2F18D5F1CC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24610A19-446F-48C7-BA59-75FC054BD4E2}" srcId="{674B031D-198F-4850-B760-C1B2EFC03C1A}" destId="{1BC973C3-9A54-49E2-9614-9C025A85463C}" srcOrd="2" destOrd="0" parTransId="{EEC14F89-142D-4C25-A16F-F7D677612F9E}" sibTransId="{D3662AFC-E656-4027-895A-2CA5FA3D6E90}"/>
    <dgm:cxn modelId="{66C3781A-5A0C-4505-AE2C-F23EF0567607}" type="presOf" srcId="{1BC973C3-9A54-49E2-9614-9C025A85463C}" destId="{92CCD080-E9C2-4294-8978-3BAD945CF4F4}" srcOrd="0" destOrd="0" presId="urn:microsoft.com/office/officeart/2005/8/layout/chevron1"/>
    <dgm:cxn modelId="{2FA43D22-DF61-493F-8F71-014BCF2F2C2E}" srcId="{674B031D-198F-4850-B760-C1B2EFC03C1A}" destId="{6BCB30BE-0673-4C01-99EA-951A1D9CB469}" srcOrd="3" destOrd="0" parTransId="{92218707-A5EA-4B88-930B-4B4CED8F2A70}" sibTransId="{322C67D0-5148-4FF7-9259-609EFAF11814}"/>
    <dgm:cxn modelId="{C9F2AB27-DE49-471F-9EEE-56BF0733DD10}" srcId="{674B031D-198F-4850-B760-C1B2EFC03C1A}" destId="{2CE5AB59-8D1D-4636-BF73-573024E4E98D}" srcOrd="4" destOrd="0" parTransId="{FAB15BAC-3F2F-47B5-99DF-99C7BB820B42}" sibTransId="{2E2C9969-97B1-47E2-AD2F-7517E1AE9E5E}"/>
    <dgm:cxn modelId="{D1C7632B-8638-42DD-8CBF-41217E3F417A}" type="presOf" srcId="{674B031D-198F-4850-B760-C1B2EFC03C1A}" destId="{992D9612-DE7E-4FC1-A295-AE36FC8A1CC5}" srcOrd="0" destOrd="0" presId="urn:microsoft.com/office/officeart/2005/8/layout/chevron1"/>
    <dgm:cxn modelId="{5BAA1341-472A-49AC-A1C9-A50E9256192B}" type="presOf" srcId="{389CFB5F-63A9-4565-ABC2-2C2F18D5F1CC}" destId="{DFB67493-286D-4A52-82FF-BF0CAD472658}" srcOrd="0" destOrd="0" presId="urn:microsoft.com/office/officeart/2005/8/layout/chevron1"/>
    <dgm:cxn modelId="{F9E50542-B75D-460D-AC1E-505ADEA23ADF}" type="presOf" srcId="{5D90A19D-865B-4D3B-9FB2-BF11F532B001}" destId="{547767F0-976C-4CB0-A923-7D8B4969A0C0}" srcOrd="0" destOrd="0" presId="urn:microsoft.com/office/officeart/2005/8/layout/chevron1"/>
    <dgm:cxn modelId="{21EEA746-437F-4CF4-A2F9-556FD9C6F26A}" srcId="{674B031D-198F-4850-B760-C1B2EFC03C1A}" destId="{389CFB5F-63A9-4565-ABC2-2C2F18D5F1CC}" srcOrd="5" destOrd="0" parTransId="{A4D8C1D1-1610-4C29-8148-7DF790A73C14}" sibTransId="{CE1EBE5B-5523-4354-A700-8263CB56A740}"/>
    <dgm:cxn modelId="{6532FC4E-8A0A-4EC7-9798-6FE6DA4F01DB}" type="presOf" srcId="{2CE5AB59-8D1D-4636-BF73-573024E4E98D}" destId="{89089307-983B-4B13-BF4A-BD4AE1B603CE}" srcOrd="0" destOrd="0" presId="urn:microsoft.com/office/officeart/2005/8/layout/chevron1"/>
    <dgm:cxn modelId="{B2AD557B-D4F4-4ED8-9DDA-D565094A499E}" type="presOf" srcId="{6BCB30BE-0673-4C01-99EA-951A1D9CB469}" destId="{F1C8E2E9-CF2C-4086-B002-6B801A42F578}" srcOrd="0" destOrd="0" presId="urn:microsoft.com/office/officeart/2005/8/layout/chevron1"/>
    <dgm:cxn modelId="{0E298088-F97E-45EA-A778-126ECE61CBA9}" srcId="{674B031D-198F-4850-B760-C1B2EFC03C1A}" destId="{5D90A19D-865B-4D3B-9FB2-BF11F532B001}" srcOrd="1" destOrd="0" parTransId="{22283CE7-DECD-41C3-9187-1245812537E6}" sibTransId="{59F316DD-BA70-45F0-8745-A6243805549B}"/>
    <dgm:cxn modelId="{0D534DB3-DB74-4D72-ADAA-D30FE40E1D0C}" srcId="{674B031D-198F-4850-B760-C1B2EFC03C1A}" destId="{17569FCF-5DBB-4CE2-B396-CF96E192A118}" srcOrd="0" destOrd="0" parTransId="{CF4BBFC9-648F-4BC1-9C63-AB419859FAC1}" sibTransId="{3A2EF09E-0777-4814-8EB8-23988BC1CD5E}"/>
    <dgm:cxn modelId="{53658CB5-86B4-4A62-853E-40DE04CDEDC1}" type="presOf" srcId="{17569FCF-5DBB-4CE2-B396-CF96E192A118}" destId="{0508A5FF-D981-4DF7-9401-D5EDD07732BE}" srcOrd="0" destOrd="0" presId="urn:microsoft.com/office/officeart/2005/8/layout/chevron1"/>
    <dgm:cxn modelId="{3CCD3CAC-05BA-4E4A-A80F-EF30E7004D89}" type="presParOf" srcId="{992D9612-DE7E-4FC1-A295-AE36FC8A1CC5}" destId="{0508A5FF-D981-4DF7-9401-D5EDD07732BE}" srcOrd="0" destOrd="0" presId="urn:microsoft.com/office/officeart/2005/8/layout/chevron1"/>
    <dgm:cxn modelId="{E40C3704-5D64-4CCD-92F9-300952528B41}" type="presParOf" srcId="{992D9612-DE7E-4FC1-A295-AE36FC8A1CC5}" destId="{2F572E70-95DD-4F76-90EE-F20E5CBF38E5}" srcOrd="1" destOrd="0" presId="urn:microsoft.com/office/officeart/2005/8/layout/chevron1"/>
    <dgm:cxn modelId="{1089E24B-6441-46DF-976D-09001978D00C}" type="presParOf" srcId="{992D9612-DE7E-4FC1-A295-AE36FC8A1CC5}" destId="{547767F0-976C-4CB0-A923-7D8B4969A0C0}" srcOrd="2" destOrd="0" presId="urn:microsoft.com/office/officeart/2005/8/layout/chevron1"/>
    <dgm:cxn modelId="{985EB136-2669-4C7B-9639-F0B798628341}" type="presParOf" srcId="{992D9612-DE7E-4FC1-A295-AE36FC8A1CC5}" destId="{FAC9513A-B412-446E-ABBB-5A02AE7D5021}" srcOrd="3" destOrd="0" presId="urn:microsoft.com/office/officeart/2005/8/layout/chevron1"/>
    <dgm:cxn modelId="{3A324EF5-476A-44D4-AAFA-28EE25529BFC}" type="presParOf" srcId="{992D9612-DE7E-4FC1-A295-AE36FC8A1CC5}" destId="{92CCD080-E9C2-4294-8978-3BAD945CF4F4}" srcOrd="4" destOrd="0" presId="urn:microsoft.com/office/officeart/2005/8/layout/chevron1"/>
    <dgm:cxn modelId="{38D5CD24-F55A-4049-B00B-71FF78EB0435}" type="presParOf" srcId="{992D9612-DE7E-4FC1-A295-AE36FC8A1CC5}" destId="{3C946230-A95A-425E-A87A-1EC1285D7A80}" srcOrd="5" destOrd="0" presId="urn:microsoft.com/office/officeart/2005/8/layout/chevron1"/>
    <dgm:cxn modelId="{E159EFB5-7561-4529-9873-16E70A92EC4C}" type="presParOf" srcId="{992D9612-DE7E-4FC1-A295-AE36FC8A1CC5}" destId="{F1C8E2E9-CF2C-4086-B002-6B801A42F578}" srcOrd="6" destOrd="0" presId="urn:microsoft.com/office/officeart/2005/8/layout/chevron1"/>
    <dgm:cxn modelId="{8FFFE33A-6434-4EBD-B639-38F4BCD366B1}" type="presParOf" srcId="{992D9612-DE7E-4FC1-A295-AE36FC8A1CC5}" destId="{DB4AD484-9808-4B91-BAAC-D1AB3E86F635}" srcOrd="7" destOrd="0" presId="urn:microsoft.com/office/officeart/2005/8/layout/chevron1"/>
    <dgm:cxn modelId="{1B5C5FC3-4597-48F3-8824-E9DA1E269563}" type="presParOf" srcId="{992D9612-DE7E-4FC1-A295-AE36FC8A1CC5}" destId="{89089307-983B-4B13-BF4A-BD4AE1B603CE}" srcOrd="8" destOrd="0" presId="urn:microsoft.com/office/officeart/2005/8/layout/chevron1"/>
    <dgm:cxn modelId="{EFA6B578-18A1-4840-9AFE-F1CD2DBC593F}" type="presParOf" srcId="{992D9612-DE7E-4FC1-A295-AE36FC8A1CC5}" destId="{E315241E-2C7D-4300-9985-26894813E015}" srcOrd="9" destOrd="0" presId="urn:microsoft.com/office/officeart/2005/8/layout/chevron1"/>
    <dgm:cxn modelId="{25C05DAC-6B5A-43D8-A853-F1D30C6BBE09}" type="presParOf" srcId="{992D9612-DE7E-4FC1-A295-AE36FC8A1CC5}" destId="{DFB67493-286D-4A52-82FF-BF0CAD472658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3C4A1B-1DA0-4402-983F-7B1D8FD0461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709A45-607F-41EF-89C1-EBB216CF4DD9}">
      <dgm:prSet/>
      <dgm:spPr/>
      <dgm:t>
        <a:bodyPr/>
        <a:lstStyle/>
        <a:p>
          <a:r>
            <a:rPr lang="en-US" b="1"/>
            <a:t>Collaboration is key</a:t>
          </a:r>
          <a:endParaRPr lang="en-US"/>
        </a:p>
      </dgm:t>
    </dgm:pt>
    <dgm:pt modelId="{E353892E-77A9-4E1A-A4D8-A47A500B329E}" type="parTrans" cxnId="{40F9F423-5AE8-4A35-9DC5-A60FB21189CB}">
      <dgm:prSet/>
      <dgm:spPr/>
      <dgm:t>
        <a:bodyPr/>
        <a:lstStyle/>
        <a:p>
          <a:endParaRPr lang="en-US"/>
        </a:p>
      </dgm:t>
    </dgm:pt>
    <dgm:pt modelId="{1FFD6D35-FD77-452F-B0E2-922EDD7164BC}" type="sibTrans" cxnId="{40F9F423-5AE8-4A35-9DC5-A60FB21189CB}">
      <dgm:prSet/>
      <dgm:spPr/>
      <dgm:t>
        <a:bodyPr/>
        <a:lstStyle/>
        <a:p>
          <a:endParaRPr lang="en-US"/>
        </a:p>
      </dgm:t>
    </dgm:pt>
    <dgm:pt modelId="{AC3FDB12-F529-46A9-A073-B25CDE186954}">
      <dgm:prSet/>
      <dgm:spPr/>
      <dgm:t>
        <a:bodyPr/>
        <a:lstStyle/>
        <a:p>
          <a:r>
            <a:rPr lang="en-US"/>
            <a:t>Marketing, Sales, and Services achieve the best results when they work together. Each team brings unique strengths that complement one another.</a:t>
          </a:r>
        </a:p>
      </dgm:t>
    </dgm:pt>
    <dgm:pt modelId="{7940EEF3-FCDD-4C0C-BF70-1C1FE4342839}" type="parTrans" cxnId="{44AC5659-2888-49D6-9176-C5D78F2E7AD6}">
      <dgm:prSet/>
      <dgm:spPr/>
      <dgm:t>
        <a:bodyPr/>
        <a:lstStyle/>
        <a:p>
          <a:endParaRPr lang="en-US"/>
        </a:p>
      </dgm:t>
    </dgm:pt>
    <dgm:pt modelId="{9BF728A8-FFC2-4599-9824-CB150F297C07}" type="sibTrans" cxnId="{44AC5659-2888-49D6-9176-C5D78F2E7AD6}">
      <dgm:prSet/>
      <dgm:spPr/>
      <dgm:t>
        <a:bodyPr/>
        <a:lstStyle/>
        <a:p>
          <a:endParaRPr lang="en-US"/>
        </a:p>
      </dgm:t>
    </dgm:pt>
    <dgm:pt modelId="{641A96CC-3D85-4E07-AF70-550ED5E94862}">
      <dgm:prSet/>
      <dgm:spPr/>
      <dgm:t>
        <a:bodyPr/>
        <a:lstStyle/>
        <a:p>
          <a:r>
            <a:rPr lang="en-US" b="1"/>
            <a:t>Clarity of roles</a:t>
          </a:r>
          <a:endParaRPr lang="en-US"/>
        </a:p>
      </dgm:t>
    </dgm:pt>
    <dgm:pt modelId="{11C6510C-5164-4F43-ABD4-6DEFC045AF83}" type="parTrans" cxnId="{0967E81F-72B9-4D11-8E6C-353D05FE2B56}">
      <dgm:prSet/>
      <dgm:spPr/>
      <dgm:t>
        <a:bodyPr/>
        <a:lstStyle/>
        <a:p>
          <a:endParaRPr lang="en-US"/>
        </a:p>
      </dgm:t>
    </dgm:pt>
    <dgm:pt modelId="{E98C3883-FEF8-47E9-BBE2-DB50A860C24F}" type="sibTrans" cxnId="{0967E81F-72B9-4D11-8E6C-353D05FE2B56}">
      <dgm:prSet/>
      <dgm:spPr/>
      <dgm:t>
        <a:bodyPr/>
        <a:lstStyle/>
        <a:p>
          <a:endParaRPr lang="en-US"/>
        </a:p>
      </dgm:t>
    </dgm:pt>
    <dgm:pt modelId="{7B4240EF-BE4B-41D6-96E9-2AAA82457441}">
      <dgm:prSet/>
      <dgm:spPr/>
      <dgm:t>
        <a:bodyPr/>
        <a:lstStyle/>
        <a:p>
          <a:r>
            <a:rPr lang="en-US"/>
            <a:t>Marketing drives visibility and demand, Sales builds relationships and closes deals, and Services ensures long-term customer success. Recognizing these roles keeps the process efficient and focused.</a:t>
          </a:r>
        </a:p>
      </dgm:t>
    </dgm:pt>
    <dgm:pt modelId="{6067B2D7-F0CF-4AE1-81C3-9C9C5A7A7E97}" type="parTrans" cxnId="{AE920B60-6FF0-492B-BEEE-7D25C3BFEB7F}">
      <dgm:prSet/>
      <dgm:spPr/>
      <dgm:t>
        <a:bodyPr/>
        <a:lstStyle/>
        <a:p>
          <a:endParaRPr lang="en-US"/>
        </a:p>
      </dgm:t>
    </dgm:pt>
    <dgm:pt modelId="{4AB9575B-2015-469E-9E4A-26EFEF18163F}" type="sibTrans" cxnId="{AE920B60-6FF0-492B-BEEE-7D25C3BFEB7F}">
      <dgm:prSet/>
      <dgm:spPr/>
      <dgm:t>
        <a:bodyPr/>
        <a:lstStyle/>
        <a:p>
          <a:endParaRPr lang="en-US"/>
        </a:p>
      </dgm:t>
    </dgm:pt>
    <dgm:pt modelId="{DA5E8F1F-1568-4541-9DB5-F6E680C03192}">
      <dgm:prSet/>
      <dgm:spPr/>
      <dgm:t>
        <a:bodyPr/>
        <a:lstStyle/>
        <a:p>
          <a:r>
            <a:rPr lang="en-US" b="1"/>
            <a:t>Communication creates value</a:t>
          </a:r>
          <a:endParaRPr lang="en-US"/>
        </a:p>
      </dgm:t>
    </dgm:pt>
    <dgm:pt modelId="{AA7C6E49-02B0-4013-B5C0-2EA538356E49}" type="parTrans" cxnId="{1930C3EC-06C9-498E-B7B3-92210556B09C}">
      <dgm:prSet/>
      <dgm:spPr/>
      <dgm:t>
        <a:bodyPr/>
        <a:lstStyle/>
        <a:p>
          <a:endParaRPr lang="en-US"/>
        </a:p>
      </dgm:t>
    </dgm:pt>
    <dgm:pt modelId="{C7EAB076-79B6-4062-8B1B-400813F6D7D1}" type="sibTrans" cxnId="{1930C3EC-06C9-498E-B7B3-92210556B09C}">
      <dgm:prSet/>
      <dgm:spPr/>
      <dgm:t>
        <a:bodyPr/>
        <a:lstStyle/>
        <a:p>
          <a:endParaRPr lang="en-US"/>
        </a:p>
      </dgm:t>
    </dgm:pt>
    <dgm:pt modelId="{D394FA4F-605E-4A65-8C7A-B277303BCF3F}">
      <dgm:prSet/>
      <dgm:spPr/>
      <dgm:t>
        <a:bodyPr/>
        <a:lstStyle/>
        <a:p>
          <a:r>
            <a:rPr lang="en-US"/>
            <a:t>Open information sharing and aligned goals transform content into real value for customers and for the business. Collaboration isn’t just about working together; it’s about creating impact.</a:t>
          </a:r>
        </a:p>
      </dgm:t>
    </dgm:pt>
    <dgm:pt modelId="{6FB0C279-64BA-40ED-B4D0-C6AD819128B4}" type="parTrans" cxnId="{74DA48EE-CA7A-4A81-B8FC-D89EE2CB2E21}">
      <dgm:prSet/>
      <dgm:spPr/>
      <dgm:t>
        <a:bodyPr/>
        <a:lstStyle/>
        <a:p>
          <a:endParaRPr lang="en-US"/>
        </a:p>
      </dgm:t>
    </dgm:pt>
    <dgm:pt modelId="{A8B0D7AD-55E2-4150-A8B5-3D4C1ED1EACF}" type="sibTrans" cxnId="{74DA48EE-CA7A-4A81-B8FC-D89EE2CB2E21}">
      <dgm:prSet/>
      <dgm:spPr/>
      <dgm:t>
        <a:bodyPr/>
        <a:lstStyle/>
        <a:p>
          <a:endParaRPr lang="en-US"/>
        </a:p>
      </dgm:t>
    </dgm:pt>
    <dgm:pt modelId="{9AFF06AF-830E-46C6-A9E9-58AF012E085F}" type="pres">
      <dgm:prSet presAssocID="{533C4A1B-1DA0-4402-983F-7B1D8FD0461C}" presName="root" presStyleCnt="0">
        <dgm:presLayoutVars>
          <dgm:dir/>
          <dgm:resizeHandles val="exact"/>
        </dgm:presLayoutVars>
      </dgm:prSet>
      <dgm:spPr/>
    </dgm:pt>
    <dgm:pt modelId="{3F6FBB38-3758-430B-BC66-6B1F6E59EB62}" type="pres">
      <dgm:prSet presAssocID="{28709A45-607F-41EF-89C1-EBB216CF4DD9}" presName="compNode" presStyleCnt="0"/>
      <dgm:spPr/>
    </dgm:pt>
    <dgm:pt modelId="{00C404FB-77D6-4EF6-B150-44A8F58D83B6}" type="pres">
      <dgm:prSet presAssocID="{28709A45-607F-41EF-89C1-EBB216CF4DD9}" presName="bgRect" presStyleLbl="bgShp" presStyleIdx="0" presStyleCnt="3"/>
      <dgm:spPr/>
    </dgm:pt>
    <dgm:pt modelId="{73CD234D-6676-4D6E-8A7C-76A3C664C5FD}" type="pres">
      <dgm:prSet presAssocID="{28709A45-607F-41EF-89C1-EBB216CF4DD9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AC9F69B6-526C-4EB8-A789-875A2256640B}" type="pres">
      <dgm:prSet presAssocID="{28709A45-607F-41EF-89C1-EBB216CF4DD9}" presName="spaceRect" presStyleCnt="0"/>
      <dgm:spPr/>
    </dgm:pt>
    <dgm:pt modelId="{785E9244-F83A-44E7-A19A-E7505EAF5631}" type="pres">
      <dgm:prSet presAssocID="{28709A45-607F-41EF-89C1-EBB216CF4DD9}" presName="parTx" presStyleLbl="revTx" presStyleIdx="0" presStyleCnt="6">
        <dgm:presLayoutVars>
          <dgm:chMax val="0"/>
          <dgm:chPref val="0"/>
        </dgm:presLayoutVars>
      </dgm:prSet>
      <dgm:spPr/>
    </dgm:pt>
    <dgm:pt modelId="{643D49E8-7C72-4071-9FE6-021F5CB1470D}" type="pres">
      <dgm:prSet presAssocID="{28709A45-607F-41EF-89C1-EBB216CF4DD9}" presName="desTx" presStyleLbl="revTx" presStyleIdx="1" presStyleCnt="6">
        <dgm:presLayoutVars/>
      </dgm:prSet>
      <dgm:spPr/>
    </dgm:pt>
    <dgm:pt modelId="{17626049-27FB-46B8-9A46-F44B7EC11741}" type="pres">
      <dgm:prSet presAssocID="{1FFD6D35-FD77-452F-B0E2-922EDD7164BC}" presName="sibTrans" presStyleCnt="0"/>
      <dgm:spPr/>
    </dgm:pt>
    <dgm:pt modelId="{BF4FE101-1336-4F3B-A2D9-C29B77EFFB6C}" type="pres">
      <dgm:prSet presAssocID="{641A96CC-3D85-4E07-AF70-550ED5E94862}" presName="compNode" presStyleCnt="0"/>
      <dgm:spPr/>
    </dgm:pt>
    <dgm:pt modelId="{44B49059-77AE-4F12-8CC8-87DEA2C73B14}" type="pres">
      <dgm:prSet presAssocID="{641A96CC-3D85-4E07-AF70-550ED5E94862}" presName="bgRect" presStyleLbl="bgShp" presStyleIdx="1" presStyleCnt="3"/>
      <dgm:spPr/>
    </dgm:pt>
    <dgm:pt modelId="{9BE3C140-7138-46C6-B911-71D2E5C7F841}" type="pres">
      <dgm:prSet presAssocID="{641A96CC-3D85-4E07-AF70-550ED5E94862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nnections"/>
        </a:ext>
      </dgm:extLst>
    </dgm:pt>
    <dgm:pt modelId="{C729B93E-D085-4DEB-9108-D2B3F237A37C}" type="pres">
      <dgm:prSet presAssocID="{641A96CC-3D85-4E07-AF70-550ED5E94862}" presName="spaceRect" presStyleCnt="0"/>
      <dgm:spPr/>
    </dgm:pt>
    <dgm:pt modelId="{E5F6A9C8-E3A6-4E17-830B-7CEDFC10A738}" type="pres">
      <dgm:prSet presAssocID="{641A96CC-3D85-4E07-AF70-550ED5E94862}" presName="parTx" presStyleLbl="revTx" presStyleIdx="2" presStyleCnt="6">
        <dgm:presLayoutVars>
          <dgm:chMax val="0"/>
          <dgm:chPref val="0"/>
        </dgm:presLayoutVars>
      </dgm:prSet>
      <dgm:spPr/>
    </dgm:pt>
    <dgm:pt modelId="{4406F409-E1F7-4292-81A6-5A739E8072EC}" type="pres">
      <dgm:prSet presAssocID="{641A96CC-3D85-4E07-AF70-550ED5E94862}" presName="desTx" presStyleLbl="revTx" presStyleIdx="3" presStyleCnt="6">
        <dgm:presLayoutVars/>
      </dgm:prSet>
      <dgm:spPr/>
    </dgm:pt>
    <dgm:pt modelId="{A413459A-CAE1-4397-B849-3D8F3F9B3006}" type="pres">
      <dgm:prSet presAssocID="{E98C3883-FEF8-47E9-BBE2-DB50A860C24F}" presName="sibTrans" presStyleCnt="0"/>
      <dgm:spPr/>
    </dgm:pt>
    <dgm:pt modelId="{3134865C-26D6-40BD-9765-62AC79A0F6E3}" type="pres">
      <dgm:prSet presAssocID="{DA5E8F1F-1568-4541-9DB5-F6E680C03192}" presName="compNode" presStyleCnt="0"/>
      <dgm:spPr/>
    </dgm:pt>
    <dgm:pt modelId="{ADE12781-6AA3-4BED-A7DC-47B3220D91F9}" type="pres">
      <dgm:prSet presAssocID="{DA5E8F1F-1568-4541-9DB5-F6E680C03192}" presName="bgRect" presStyleLbl="bgShp" presStyleIdx="2" presStyleCnt="3"/>
      <dgm:spPr/>
    </dgm:pt>
    <dgm:pt modelId="{04DCD7E8-89EC-4180-934D-03D7BC8D7592}" type="pres">
      <dgm:prSet presAssocID="{DA5E8F1F-1568-4541-9DB5-F6E680C0319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DB18BBC-42A8-46F8-B7F6-F52B86752992}" type="pres">
      <dgm:prSet presAssocID="{DA5E8F1F-1568-4541-9DB5-F6E680C03192}" presName="spaceRect" presStyleCnt="0"/>
      <dgm:spPr/>
    </dgm:pt>
    <dgm:pt modelId="{FE425280-842C-43B8-829B-27CC360E0EFF}" type="pres">
      <dgm:prSet presAssocID="{DA5E8F1F-1568-4541-9DB5-F6E680C03192}" presName="parTx" presStyleLbl="revTx" presStyleIdx="4" presStyleCnt="6">
        <dgm:presLayoutVars>
          <dgm:chMax val="0"/>
          <dgm:chPref val="0"/>
        </dgm:presLayoutVars>
      </dgm:prSet>
      <dgm:spPr/>
    </dgm:pt>
    <dgm:pt modelId="{5591C20D-D229-4E06-9447-85F82BC78DF0}" type="pres">
      <dgm:prSet presAssocID="{DA5E8F1F-1568-4541-9DB5-F6E680C03192}" presName="desTx" presStyleLbl="revTx" presStyleIdx="5" presStyleCnt="6">
        <dgm:presLayoutVars/>
      </dgm:prSet>
      <dgm:spPr/>
    </dgm:pt>
  </dgm:ptLst>
  <dgm:cxnLst>
    <dgm:cxn modelId="{D7F3FB00-67DD-48C5-B9CB-C4189553BCBA}" type="presOf" srcId="{DA5E8F1F-1568-4541-9DB5-F6E680C03192}" destId="{FE425280-842C-43B8-829B-27CC360E0EFF}" srcOrd="0" destOrd="0" presId="urn:microsoft.com/office/officeart/2018/2/layout/IconVerticalSolidList"/>
    <dgm:cxn modelId="{FE08941A-B8CD-43BF-A618-0E0D6902E237}" type="presOf" srcId="{28709A45-607F-41EF-89C1-EBB216CF4DD9}" destId="{785E9244-F83A-44E7-A19A-E7505EAF5631}" srcOrd="0" destOrd="0" presId="urn:microsoft.com/office/officeart/2018/2/layout/IconVerticalSolidList"/>
    <dgm:cxn modelId="{0967E81F-72B9-4D11-8E6C-353D05FE2B56}" srcId="{533C4A1B-1DA0-4402-983F-7B1D8FD0461C}" destId="{641A96CC-3D85-4E07-AF70-550ED5E94862}" srcOrd="1" destOrd="0" parTransId="{11C6510C-5164-4F43-ABD4-6DEFC045AF83}" sibTransId="{E98C3883-FEF8-47E9-BBE2-DB50A860C24F}"/>
    <dgm:cxn modelId="{40F9F423-5AE8-4A35-9DC5-A60FB21189CB}" srcId="{533C4A1B-1DA0-4402-983F-7B1D8FD0461C}" destId="{28709A45-607F-41EF-89C1-EBB216CF4DD9}" srcOrd="0" destOrd="0" parTransId="{E353892E-77A9-4E1A-A4D8-A47A500B329E}" sibTransId="{1FFD6D35-FD77-452F-B0E2-922EDD7164BC}"/>
    <dgm:cxn modelId="{6995963E-670F-4132-BB6B-DDCE35A0C98B}" type="presOf" srcId="{641A96CC-3D85-4E07-AF70-550ED5E94862}" destId="{E5F6A9C8-E3A6-4E17-830B-7CEDFC10A738}" srcOrd="0" destOrd="0" presId="urn:microsoft.com/office/officeart/2018/2/layout/IconVerticalSolidList"/>
    <dgm:cxn modelId="{AE920B60-6FF0-492B-BEEE-7D25C3BFEB7F}" srcId="{641A96CC-3D85-4E07-AF70-550ED5E94862}" destId="{7B4240EF-BE4B-41D6-96E9-2AAA82457441}" srcOrd="0" destOrd="0" parTransId="{6067B2D7-F0CF-4AE1-81C3-9C9C5A7A7E97}" sibTransId="{4AB9575B-2015-469E-9E4A-26EFEF18163F}"/>
    <dgm:cxn modelId="{44AC5659-2888-49D6-9176-C5D78F2E7AD6}" srcId="{28709A45-607F-41EF-89C1-EBB216CF4DD9}" destId="{AC3FDB12-F529-46A9-A073-B25CDE186954}" srcOrd="0" destOrd="0" parTransId="{7940EEF3-FCDD-4C0C-BF70-1C1FE4342839}" sibTransId="{9BF728A8-FFC2-4599-9824-CB150F297C07}"/>
    <dgm:cxn modelId="{0DF47E9F-946A-4BD8-9E3D-B8D5BACFEE66}" type="presOf" srcId="{7B4240EF-BE4B-41D6-96E9-2AAA82457441}" destId="{4406F409-E1F7-4292-81A6-5A739E8072EC}" srcOrd="0" destOrd="0" presId="urn:microsoft.com/office/officeart/2018/2/layout/IconVerticalSolidList"/>
    <dgm:cxn modelId="{268DF0AC-E83B-4B39-AF4B-25D09A1BB6F2}" type="presOf" srcId="{533C4A1B-1DA0-4402-983F-7B1D8FD0461C}" destId="{9AFF06AF-830E-46C6-A9E9-58AF012E085F}" srcOrd="0" destOrd="0" presId="urn:microsoft.com/office/officeart/2018/2/layout/IconVerticalSolidList"/>
    <dgm:cxn modelId="{7568E2CB-CD0E-4C3F-BEEE-14107EE3BFBF}" type="presOf" srcId="{AC3FDB12-F529-46A9-A073-B25CDE186954}" destId="{643D49E8-7C72-4071-9FE6-021F5CB1470D}" srcOrd="0" destOrd="0" presId="urn:microsoft.com/office/officeart/2018/2/layout/IconVerticalSolidList"/>
    <dgm:cxn modelId="{775F6FDF-87B0-4492-AC48-B1465B23BC3F}" type="presOf" srcId="{D394FA4F-605E-4A65-8C7A-B277303BCF3F}" destId="{5591C20D-D229-4E06-9447-85F82BC78DF0}" srcOrd="0" destOrd="0" presId="urn:microsoft.com/office/officeart/2018/2/layout/IconVerticalSolidList"/>
    <dgm:cxn modelId="{1930C3EC-06C9-498E-B7B3-92210556B09C}" srcId="{533C4A1B-1DA0-4402-983F-7B1D8FD0461C}" destId="{DA5E8F1F-1568-4541-9DB5-F6E680C03192}" srcOrd="2" destOrd="0" parTransId="{AA7C6E49-02B0-4013-B5C0-2EA538356E49}" sibTransId="{C7EAB076-79B6-4062-8B1B-400813F6D7D1}"/>
    <dgm:cxn modelId="{74DA48EE-CA7A-4A81-B8FC-D89EE2CB2E21}" srcId="{DA5E8F1F-1568-4541-9DB5-F6E680C03192}" destId="{D394FA4F-605E-4A65-8C7A-B277303BCF3F}" srcOrd="0" destOrd="0" parTransId="{6FB0C279-64BA-40ED-B4D0-C6AD819128B4}" sibTransId="{A8B0D7AD-55E2-4150-A8B5-3D4C1ED1EACF}"/>
    <dgm:cxn modelId="{F926974E-4A13-4A26-9252-7402ADBA9E53}" type="presParOf" srcId="{9AFF06AF-830E-46C6-A9E9-58AF012E085F}" destId="{3F6FBB38-3758-430B-BC66-6B1F6E59EB62}" srcOrd="0" destOrd="0" presId="urn:microsoft.com/office/officeart/2018/2/layout/IconVerticalSolidList"/>
    <dgm:cxn modelId="{83AFBB79-9DFB-4ABF-87BF-B45A04FA4258}" type="presParOf" srcId="{3F6FBB38-3758-430B-BC66-6B1F6E59EB62}" destId="{00C404FB-77D6-4EF6-B150-44A8F58D83B6}" srcOrd="0" destOrd="0" presId="urn:microsoft.com/office/officeart/2018/2/layout/IconVerticalSolidList"/>
    <dgm:cxn modelId="{EF6E74D4-4608-40BD-B08F-393F8D79BFBF}" type="presParOf" srcId="{3F6FBB38-3758-430B-BC66-6B1F6E59EB62}" destId="{73CD234D-6676-4D6E-8A7C-76A3C664C5FD}" srcOrd="1" destOrd="0" presId="urn:microsoft.com/office/officeart/2018/2/layout/IconVerticalSolidList"/>
    <dgm:cxn modelId="{35982096-9698-43AB-AA84-8778FE285DFA}" type="presParOf" srcId="{3F6FBB38-3758-430B-BC66-6B1F6E59EB62}" destId="{AC9F69B6-526C-4EB8-A789-875A2256640B}" srcOrd="2" destOrd="0" presId="urn:microsoft.com/office/officeart/2018/2/layout/IconVerticalSolidList"/>
    <dgm:cxn modelId="{0BEF86F8-405E-468B-888B-8324AD55C8DB}" type="presParOf" srcId="{3F6FBB38-3758-430B-BC66-6B1F6E59EB62}" destId="{785E9244-F83A-44E7-A19A-E7505EAF5631}" srcOrd="3" destOrd="0" presId="urn:microsoft.com/office/officeart/2018/2/layout/IconVerticalSolidList"/>
    <dgm:cxn modelId="{2290586C-043D-4060-B07A-9052B103FCF2}" type="presParOf" srcId="{3F6FBB38-3758-430B-BC66-6B1F6E59EB62}" destId="{643D49E8-7C72-4071-9FE6-021F5CB1470D}" srcOrd="4" destOrd="0" presId="urn:microsoft.com/office/officeart/2018/2/layout/IconVerticalSolidList"/>
    <dgm:cxn modelId="{60646BC4-718C-4205-B146-60A128F32378}" type="presParOf" srcId="{9AFF06AF-830E-46C6-A9E9-58AF012E085F}" destId="{17626049-27FB-46B8-9A46-F44B7EC11741}" srcOrd="1" destOrd="0" presId="urn:microsoft.com/office/officeart/2018/2/layout/IconVerticalSolidList"/>
    <dgm:cxn modelId="{8C3C570D-D9DB-4D68-8BBE-18F2B65C857B}" type="presParOf" srcId="{9AFF06AF-830E-46C6-A9E9-58AF012E085F}" destId="{BF4FE101-1336-4F3B-A2D9-C29B77EFFB6C}" srcOrd="2" destOrd="0" presId="urn:microsoft.com/office/officeart/2018/2/layout/IconVerticalSolidList"/>
    <dgm:cxn modelId="{2376A799-E8C0-4281-B3F9-623625F3B5F0}" type="presParOf" srcId="{BF4FE101-1336-4F3B-A2D9-C29B77EFFB6C}" destId="{44B49059-77AE-4F12-8CC8-87DEA2C73B14}" srcOrd="0" destOrd="0" presId="urn:microsoft.com/office/officeart/2018/2/layout/IconVerticalSolidList"/>
    <dgm:cxn modelId="{A40528EC-E32F-4746-A25A-32D27AC360E0}" type="presParOf" srcId="{BF4FE101-1336-4F3B-A2D9-C29B77EFFB6C}" destId="{9BE3C140-7138-46C6-B911-71D2E5C7F841}" srcOrd="1" destOrd="0" presId="urn:microsoft.com/office/officeart/2018/2/layout/IconVerticalSolidList"/>
    <dgm:cxn modelId="{C656DC50-075A-4D0F-897F-23FC31F3013C}" type="presParOf" srcId="{BF4FE101-1336-4F3B-A2D9-C29B77EFFB6C}" destId="{C729B93E-D085-4DEB-9108-D2B3F237A37C}" srcOrd="2" destOrd="0" presId="urn:microsoft.com/office/officeart/2018/2/layout/IconVerticalSolidList"/>
    <dgm:cxn modelId="{F77DFEEC-F1E2-423D-AFF8-22B03D242548}" type="presParOf" srcId="{BF4FE101-1336-4F3B-A2D9-C29B77EFFB6C}" destId="{E5F6A9C8-E3A6-4E17-830B-7CEDFC10A738}" srcOrd="3" destOrd="0" presId="urn:microsoft.com/office/officeart/2018/2/layout/IconVerticalSolidList"/>
    <dgm:cxn modelId="{DB525873-256D-412B-A3E9-A49C032C5FCA}" type="presParOf" srcId="{BF4FE101-1336-4F3B-A2D9-C29B77EFFB6C}" destId="{4406F409-E1F7-4292-81A6-5A739E8072EC}" srcOrd="4" destOrd="0" presId="urn:microsoft.com/office/officeart/2018/2/layout/IconVerticalSolidList"/>
    <dgm:cxn modelId="{7E6C7638-79B3-4797-96AF-00C5ED706C25}" type="presParOf" srcId="{9AFF06AF-830E-46C6-A9E9-58AF012E085F}" destId="{A413459A-CAE1-4397-B849-3D8F3F9B3006}" srcOrd="3" destOrd="0" presId="urn:microsoft.com/office/officeart/2018/2/layout/IconVerticalSolidList"/>
    <dgm:cxn modelId="{68E4CD42-E125-44ED-B705-5E9D73780BF8}" type="presParOf" srcId="{9AFF06AF-830E-46C6-A9E9-58AF012E085F}" destId="{3134865C-26D6-40BD-9765-62AC79A0F6E3}" srcOrd="4" destOrd="0" presId="urn:microsoft.com/office/officeart/2018/2/layout/IconVerticalSolidList"/>
    <dgm:cxn modelId="{850FDFF3-09F2-4744-B419-667A18CC96DF}" type="presParOf" srcId="{3134865C-26D6-40BD-9765-62AC79A0F6E3}" destId="{ADE12781-6AA3-4BED-A7DC-47B3220D91F9}" srcOrd="0" destOrd="0" presId="urn:microsoft.com/office/officeart/2018/2/layout/IconVerticalSolidList"/>
    <dgm:cxn modelId="{9F6671F2-3B00-45C8-902D-1CD976768CB9}" type="presParOf" srcId="{3134865C-26D6-40BD-9765-62AC79A0F6E3}" destId="{04DCD7E8-89EC-4180-934D-03D7BC8D7592}" srcOrd="1" destOrd="0" presId="urn:microsoft.com/office/officeart/2018/2/layout/IconVerticalSolidList"/>
    <dgm:cxn modelId="{7C6F9214-19FC-4D84-9B1E-75D33AFD0525}" type="presParOf" srcId="{3134865C-26D6-40BD-9765-62AC79A0F6E3}" destId="{3DB18BBC-42A8-46F8-B7F6-F52B86752992}" srcOrd="2" destOrd="0" presId="urn:microsoft.com/office/officeart/2018/2/layout/IconVerticalSolidList"/>
    <dgm:cxn modelId="{0548192D-BE96-4213-B7E9-3737F2AD5EAA}" type="presParOf" srcId="{3134865C-26D6-40BD-9765-62AC79A0F6E3}" destId="{FE425280-842C-43B8-829B-27CC360E0EFF}" srcOrd="3" destOrd="0" presId="urn:microsoft.com/office/officeart/2018/2/layout/IconVerticalSolidList"/>
    <dgm:cxn modelId="{B2652D26-E1DA-47C5-88DF-283F2A2990F2}" type="presParOf" srcId="{3134865C-26D6-40BD-9765-62AC79A0F6E3}" destId="{5591C20D-D229-4E06-9447-85F82BC78DF0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E0B080-8B5C-441F-B7C8-348BACB2F91D}">
      <dsp:nvSpPr>
        <dsp:cNvPr id="0" name=""/>
        <dsp:cNvSpPr/>
      </dsp:nvSpPr>
      <dsp:spPr>
        <a:xfrm>
          <a:off x="3336496" y="891119"/>
          <a:ext cx="68721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87213" y="45720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62158" y="933250"/>
        <a:ext cx="35890" cy="7178"/>
      </dsp:txXfrm>
    </dsp:sp>
    <dsp:sp modelId="{C19EC479-D79A-4FE4-A2EE-C2BE1C2A8BC2}">
      <dsp:nvSpPr>
        <dsp:cNvPr id="0" name=""/>
        <dsp:cNvSpPr/>
      </dsp:nvSpPr>
      <dsp:spPr>
        <a:xfrm>
          <a:off x="217368" y="560"/>
          <a:ext cx="3120928" cy="187255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928" tIns="160525" rIns="152928" bIns="160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/>
            <a:t>Information Capture </a:t>
          </a:r>
          <a:r>
            <a:rPr lang="en-US" sz="1500" kern="1200"/>
            <a:t>(Sales → Marketing)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ales shares updates: projects, milestones, customer  success stories.</a:t>
          </a:r>
        </a:p>
      </dsp:txBody>
      <dsp:txXfrm>
        <a:off x="217368" y="560"/>
        <a:ext cx="3120928" cy="1872557"/>
      </dsp:txXfrm>
    </dsp:sp>
    <dsp:sp modelId="{420736FF-96C6-44D1-A3C0-DE27FBE2AD83}">
      <dsp:nvSpPr>
        <dsp:cNvPr id="0" name=""/>
        <dsp:cNvSpPr/>
      </dsp:nvSpPr>
      <dsp:spPr>
        <a:xfrm>
          <a:off x="7175239" y="891119"/>
          <a:ext cx="68721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87213" y="45720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500900" y="933250"/>
        <a:ext cx="35890" cy="7178"/>
      </dsp:txXfrm>
    </dsp:sp>
    <dsp:sp modelId="{E0AB88DF-B386-4754-95F8-4E32D4C12A12}">
      <dsp:nvSpPr>
        <dsp:cNvPr id="0" name=""/>
        <dsp:cNvSpPr/>
      </dsp:nvSpPr>
      <dsp:spPr>
        <a:xfrm>
          <a:off x="4056110" y="560"/>
          <a:ext cx="3120928" cy="187255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928" tIns="160525" rIns="152928" bIns="160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1" kern="1200"/>
            <a:t>Prioritization 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0" kern="1200"/>
            <a:t>Marketing evaluates: 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0" kern="1200"/>
            <a:t>Strategic relevance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0" kern="1200"/>
            <a:t>Timing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0" kern="1200"/>
            <a:t> Available resources</a:t>
          </a:r>
        </a:p>
      </dsp:txBody>
      <dsp:txXfrm>
        <a:off x="4056110" y="560"/>
        <a:ext cx="3120928" cy="1872557"/>
      </dsp:txXfrm>
    </dsp:sp>
    <dsp:sp modelId="{BC5919A2-677C-43E0-9E58-775F7D33ECC9}">
      <dsp:nvSpPr>
        <dsp:cNvPr id="0" name=""/>
        <dsp:cNvSpPr/>
      </dsp:nvSpPr>
      <dsp:spPr>
        <a:xfrm>
          <a:off x="1777832" y="1871318"/>
          <a:ext cx="7677485" cy="687213"/>
        </a:xfrm>
        <a:custGeom>
          <a:avLst/>
          <a:gdLst/>
          <a:ahLst/>
          <a:cxnLst/>
          <a:rect l="0" t="0" r="0" b="0"/>
          <a:pathLst>
            <a:path>
              <a:moveTo>
                <a:pt x="7677485" y="0"/>
              </a:moveTo>
              <a:lnTo>
                <a:pt x="7677485" y="360706"/>
              </a:lnTo>
              <a:lnTo>
                <a:pt x="0" y="360706"/>
              </a:lnTo>
              <a:lnTo>
                <a:pt x="0" y="687213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23800" y="2211335"/>
        <a:ext cx="385548" cy="7178"/>
      </dsp:txXfrm>
    </dsp:sp>
    <dsp:sp modelId="{F543E5D3-8C70-492A-9B68-B5E82756CD99}">
      <dsp:nvSpPr>
        <dsp:cNvPr id="0" name=""/>
        <dsp:cNvSpPr/>
      </dsp:nvSpPr>
      <dsp:spPr>
        <a:xfrm>
          <a:off x="7894853" y="560"/>
          <a:ext cx="3120928" cy="187255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928" tIns="160525" rIns="152928" bIns="160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1" kern="1200"/>
            <a:t>Format Definition</a:t>
          </a:r>
          <a:endParaRPr lang="en-US" sz="1500" kern="1200"/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Decide if it will be a social media post, website/external article,  newsletter, video, or webinar.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 Technical validation is needed from Sales</a:t>
          </a:r>
        </a:p>
      </dsp:txBody>
      <dsp:txXfrm>
        <a:off x="7894853" y="560"/>
        <a:ext cx="3120928" cy="1872557"/>
      </dsp:txXfrm>
    </dsp:sp>
    <dsp:sp modelId="{0E9D0039-1FCF-4318-9F8C-8DE96A0D8851}">
      <dsp:nvSpPr>
        <dsp:cNvPr id="0" name=""/>
        <dsp:cNvSpPr/>
      </dsp:nvSpPr>
      <dsp:spPr>
        <a:xfrm>
          <a:off x="3336496" y="3481490"/>
          <a:ext cx="68721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87213" y="45720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62158" y="3523621"/>
        <a:ext cx="35890" cy="7178"/>
      </dsp:txXfrm>
    </dsp:sp>
    <dsp:sp modelId="{F3F62E83-6F5B-402E-8680-207A5E554FDA}">
      <dsp:nvSpPr>
        <dsp:cNvPr id="0" name=""/>
        <dsp:cNvSpPr/>
      </dsp:nvSpPr>
      <dsp:spPr>
        <a:xfrm>
          <a:off x="217368" y="2590931"/>
          <a:ext cx="3120928" cy="187255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928" tIns="160525" rIns="152928" bIns="160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1" kern="1200"/>
            <a:t>Content Creation</a:t>
          </a:r>
          <a:endParaRPr lang="en-US" sz="1500" kern="1200"/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Marketing drafts and designs.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Sales reviews critical details such as technical information</a:t>
          </a:r>
        </a:p>
      </dsp:txBody>
      <dsp:txXfrm>
        <a:off x="217368" y="2590931"/>
        <a:ext cx="3120928" cy="1872557"/>
      </dsp:txXfrm>
    </dsp:sp>
    <dsp:sp modelId="{B18C39DA-E5F6-4FCD-9720-B2A6A9753BB0}">
      <dsp:nvSpPr>
        <dsp:cNvPr id="0" name=""/>
        <dsp:cNvSpPr/>
      </dsp:nvSpPr>
      <dsp:spPr>
        <a:xfrm>
          <a:off x="7175239" y="3481490"/>
          <a:ext cx="68721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87213" y="45720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500900" y="3523621"/>
        <a:ext cx="35890" cy="7178"/>
      </dsp:txXfrm>
    </dsp:sp>
    <dsp:sp modelId="{CE6A95AB-0505-4F76-965B-53BEDE5B43DA}">
      <dsp:nvSpPr>
        <dsp:cNvPr id="0" name=""/>
        <dsp:cNvSpPr/>
      </dsp:nvSpPr>
      <dsp:spPr>
        <a:xfrm>
          <a:off x="4056110" y="2590931"/>
          <a:ext cx="3120928" cy="187255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928" tIns="160525" rIns="152928" bIns="160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1" kern="1200"/>
            <a:t>Publication and Distribution</a:t>
          </a:r>
          <a:endParaRPr lang="en-US" sz="1500" kern="1200"/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Marketing publishes on official channels, after customer validation.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Sales amplifies through personal networks and customer sharing</a:t>
          </a:r>
        </a:p>
      </dsp:txBody>
      <dsp:txXfrm>
        <a:off x="4056110" y="2590931"/>
        <a:ext cx="3120928" cy="1872557"/>
      </dsp:txXfrm>
    </dsp:sp>
    <dsp:sp modelId="{41E97414-E218-4E84-825E-CB124628A35E}">
      <dsp:nvSpPr>
        <dsp:cNvPr id="0" name=""/>
        <dsp:cNvSpPr/>
      </dsp:nvSpPr>
      <dsp:spPr>
        <a:xfrm>
          <a:off x="7894853" y="2590931"/>
          <a:ext cx="3120928" cy="187255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928" tIns="160525" rIns="152928" bIns="160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b="1" kern="1200"/>
            <a:t>Feedback Loop</a:t>
          </a:r>
          <a:endParaRPr lang="en-US" sz="1500" kern="1200"/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500" kern="1200"/>
            <a:t>Sales reports impact Marketing tracks metrics (reach, engagement, </a:t>
          </a:r>
          <a:r>
            <a:rPr lang="en-US" sz="1500" kern="1200" err="1"/>
            <a:t>etc</a:t>
          </a:r>
          <a:r>
            <a:rPr lang="en-US" sz="1500" kern="1200"/>
            <a:t>).</a:t>
          </a:r>
        </a:p>
      </dsp:txBody>
      <dsp:txXfrm>
        <a:off x="7894853" y="2590931"/>
        <a:ext cx="3120928" cy="18725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08A5FF-D981-4DF7-9401-D5EDD07732BE}">
      <dsp:nvSpPr>
        <dsp:cNvPr id="0" name=""/>
        <dsp:cNvSpPr/>
      </dsp:nvSpPr>
      <dsp:spPr>
        <a:xfrm>
          <a:off x="5672" y="1090169"/>
          <a:ext cx="2109987" cy="8439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efine priorities</a:t>
          </a:r>
        </a:p>
      </dsp:txBody>
      <dsp:txXfrm>
        <a:off x="427670" y="1090169"/>
        <a:ext cx="1265992" cy="843995"/>
      </dsp:txXfrm>
    </dsp:sp>
    <dsp:sp modelId="{547767F0-976C-4CB0-A923-7D8B4969A0C0}">
      <dsp:nvSpPr>
        <dsp:cNvPr id="0" name=""/>
        <dsp:cNvSpPr/>
      </dsp:nvSpPr>
      <dsp:spPr>
        <a:xfrm>
          <a:off x="1904660" y="1090169"/>
          <a:ext cx="2109987" cy="8439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Strengthen sales collaboration</a:t>
          </a:r>
        </a:p>
      </dsp:txBody>
      <dsp:txXfrm>
        <a:off x="2326658" y="1090169"/>
        <a:ext cx="1265992" cy="843995"/>
      </dsp:txXfrm>
    </dsp:sp>
    <dsp:sp modelId="{92CCD080-E9C2-4294-8978-3BAD945CF4F4}">
      <dsp:nvSpPr>
        <dsp:cNvPr id="0" name=""/>
        <dsp:cNvSpPr/>
      </dsp:nvSpPr>
      <dsp:spPr>
        <a:xfrm>
          <a:off x="3803649" y="1090169"/>
          <a:ext cx="2109987" cy="8439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Focus on high-impact action</a:t>
          </a:r>
        </a:p>
      </dsp:txBody>
      <dsp:txXfrm>
        <a:off x="4225647" y="1090169"/>
        <a:ext cx="1265992" cy="843995"/>
      </dsp:txXfrm>
    </dsp:sp>
    <dsp:sp modelId="{F1C8E2E9-CF2C-4086-B002-6B801A42F578}">
      <dsp:nvSpPr>
        <dsp:cNvPr id="0" name=""/>
        <dsp:cNvSpPr/>
      </dsp:nvSpPr>
      <dsp:spPr>
        <a:xfrm>
          <a:off x="5702638" y="1090169"/>
          <a:ext cx="2109987" cy="8439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ata-driven decisions</a:t>
          </a:r>
        </a:p>
      </dsp:txBody>
      <dsp:txXfrm>
        <a:off x="6124636" y="1090169"/>
        <a:ext cx="1265992" cy="843995"/>
      </dsp:txXfrm>
    </dsp:sp>
    <dsp:sp modelId="{89089307-983B-4B13-BF4A-BD4AE1B603CE}">
      <dsp:nvSpPr>
        <dsp:cNvPr id="0" name=""/>
        <dsp:cNvSpPr/>
      </dsp:nvSpPr>
      <dsp:spPr>
        <a:xfrm>
          <a:off x="7601627" y="1090169"/>
          <a:ext cx="2109987" cy="8439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mpower and innovate</a:t>
          </a:r>
        </a:p>
      </dsp:txBody>
      <dsp:txXfrm>
        <a:off x="8023625" y="1090169"/>
        <a:ext cx="1265992" cy="843995"/>
      </dsp:txXfrm>
    </dsp:sp>
    <dsp:sp modelId="{DFB67493-286D-4A52-82FF-BF0CAD472658}">
      <dsp:nvSpPr>
        <dsp:cNvPr id="0" name=""/>
        <dsp:cNvSpPr/>
      </dsp:nvSpPr>
      <dsp:spPr>
        <a:xfrm>
          <a:off x="9500616" y="1090169"/>
          <a:ext cx="2109987" cy="8439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Celebrate wins!</a:t>
          </a:r>
        </a:p>
      </dsp:txBody>
      <dsp:txXfrm>
        <a:off x="9922614" y="1090169"/>
        <a:ext cx="1265992" cy="8439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C404FB-77D6-4EF6-B150-44A8F58D83B6}">
      <dsp:nvSpPr>
        <dsp:cNvPr id="0" name=""/>
        <dsp:cNvSpPr/>
      </dsp:nvSpPr>
      <dsp:spPr>
        <a:xfrm>
          <a:off x="0" y="544"/>
          <a:ext cx="11233150" cy="12751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CD234D-6676-4D6E-8A7C-76A3C664C5FD}">
      <dsp:nvSpPr>
        <dsp:cNvPr id="0" name=""/>
        <dsp:cNvSpPr/>
      </dsp:nvSpPr>
      <dsp:spPr>
        <a:xfrm>
          <a:off x="385727" y="287449"/>
          <a:ext cx="701322" cy="70132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5E9244-F83A-44E7-A19A-E7505EAF5631}">
      <dsp:nvSpPr>
        <dsp:cNvPr id="0" name=""/>
        <dsp:cNvSpPr/>
      </dsp:nvSpPr>
      <dsp:spPr>
        <a:xfrm>
          <a:off x="1472776" y="544"/>
          <a:ext cx="5054917" cy="1275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951" tIns="134951" rIns="134951" bIns="13495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/>
            <a:t>Collaboration is key</a:t>
          </a:r>
          <a:endParaRPr lang="en-US" sz="2500" kern="1200"/>
        </a:p>
      </dsp:txBody>
      <dsp:txXfrm>
        <a:off x="1472776" y="544"/>
        <a:ext cx="5054917" cy="1275131"/>
      </dsp:txXfrm>
    </dsp:sp>
    <dsp:sp modelId="{643D49E8-7C72-4071-9FE6-021F5CB1470D}">
      <dsp:nvSpPr>
        <dsp:cNvPr id="0" name=""/>
        <dsp:cNvSpPr/>
      </dsp:nvSpPr>
      <dsp:spPr>
        <a:xfrm>
          <a:off x="6527694" y="544"/>
          <a:ext cx="4705455" cy="1275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951" tIns="134951" rIns="134951" bIns="134951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Marketing, Sales, and Services achieve the best results when they work together. Each team brings unique strengths that complement one another.</a:t>
          </a:r>
        </a:p>
      </dsp:txBody>
      <dsp:txXfrm>
        <a:off x="6527694" y="544"/>
        <a:ext cx="4705455" cy="1275131"/>
      </dsp:txXfrm>
    </dsp:sp>
    <dsp:sp modelId="{44B49059-77AE-4F12-8CC8-87DEA2C73B14}">
      <dsp:nvSpPr>
        <dsp:cNvPr id="0" name=""/>
        <dsp:cNvSpPr/>
      </dsp:nvSpPr>
      <dsp:spPr>
        <a:xfrm>
          <a:off x="0" y="1594459"/>
          <a:ext cx="11233150" cy="12751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E3C140-7138-46C6-B911-71D2E5C7F841}">
      <dsp:nvSpPr>
        <dsp:cNvPr id="0" name=""/>
        <dsp:cNvSpPr/>
      </dsp:nvSpPr>
      <dsp:spPr>
        <a:xfrm>
          <a:off x="385727" y="1881363"/>
          <a:ext cx="701322" cy="70132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F6A9C8-E3A6-4E17-830B-7CEDFC10A738}">
      <dsp:nvSpPr>
        <dsp:cNvPr id="0" name=""/>
        <dsp:cNvSpPr/>
      </dsp:nvSpPr>
      <dsp:spPr>
        <a:xfrm>
          <a:off x="1472776" y="1594459"/>
          <a:ext cx="5054917" cy="1275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951" tIns="134951" rIns="134951" bIns="13495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/>
            <a:t>Clarity of roles</a:t>
          </a:r>
          <a:endParaRPr lang="en-US" sz="2500" kern="1200"/>
        </a:p>
      </dsp:txBody>
      <dsp:txXfrm>
        <a:off x="1472776" y="1594459"/>
        <a:ext cx="5054917" cy="1275131"/>
      </dsp:txXfrm>
    </dsp:sp>
    <dsp:sp modelId="{4406F409-E1F7-4292-81A6-5A739E8072EC}">
      <dsp:nvSpPr>
        <dsp:cNvPr id="0" name=""/>
        <dsp:cNvSpPr/>
      </dsp:nvSpPr>
      <dsp:spPr>
        <a:xfrm>
          <a:off x="6527694" y="1594459"/>
          <a:ext cx="4705455" cy="1275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951" tIns="134951" rIns="134951" bIns="134951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Marketing drives visibility and demand, Sales builds relationships and closes deals, and Services ensures long-term customer success. Recognizing these roles keeps the process efficient and focused.</a:t>
          </a:r>
        </a:p>
      </dsp:txBody>
      <dsp:txXfrm>
        <a:off x="6527694" y="1594459"/>
        <a:ext cx="4705455" cy="1275131"/>
      </dsp:txXfrm>
    </dsp:sp>
    <dsp:sp modelId="{ADE12781-6AA3-4BED-A7DC-47B3220D91F9}">
      <dsp:nvSpPr>
        <dsp:cNvPr id="0" name=""/>
        <dsp:cNvSpPr/>
      </dsp:nvSpPr>
      <dsp:spPr>
        <a:xfrm>
          <a:off x="0" y="3188373"/>
          <a:ext cx="11233150" cy="12751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DCD7E8-89EC-4180-934D-03D7BC8D7592}">
      <dsp:nvSpPr>
        <dsp:cNvPr id="0" name=""/>
        <dsp:cNvSpPr/>
      </dsp:nvSpPr>
      <dsp:spPr>
        <a:xfrm>
          <a:off x="385727" y="3475278"/>
          <a:ext cx="701322" cy="70132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425280-842C-43B8-829B-27CC360E0EFF}">
      <dsp:nvSpPr>
        <dsp:cNvPr id="0" name=""/>
        <dsp:cNvSpPr/>
      </dsp:nvSpPr>
      <dsp:spPr>
        <a:xfrm>
          <a:off x="1472776" y="3188373"/>
          <a:ext cx="5054917" cy="1275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951" tIns="134951" rIns="134951" bIns="13495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/>
            <a:t>Communication creates value</a:t>
          </a:r>
          <a:endParaRPr lang="en-US" sz="2500" kern="1200"/>
        </a:p>
      </dsp:txBody>
      <dsp:txXfrm>
        <a:off x="1472776" y="3188373"/>
        <a:ext cx="5054917" cy="1275131"/>
      </dsp:txXfrm>
    </dsp:sp>
    <dsp:sp modelId="{5591C20D-D229-4E06-9447-85F82BC78DF0}">
      <dsp:nvSpPr>
        <dsp:cNvPr id="0" name=""/>
        <dsp:cNvSpPr/>
      </dsp:nvSpPr>
      <dsp:spPr>
        <a:xfrm>
          <a:off x="6527694" y="3188373"/>
          <a:ext cx="4705455" cy="1275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951" tIns="134951" rIns="134951" bIns="134951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Open information sharing and aligned goals transform content into real value for customers and for the business. Collaboration isn’t just about working together; it’s about creating impact.</a:t>
          </a:r>
        </a:p>
      </dsp:txBody>
      <dsp:txXfrm>
        <a:off x="6527694" y="3188373"/>
        <a:ext cx="4705455" cy="12751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0B686A-5C92-4042-AC44-8C9313BBECEE}" type="datetime3">
              <a:rPr lang="en-US" sz="800" smtClean="0"/>
              <a:t>27 November 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C51C-1507-4174-B2C8-A06D43695541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18467629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D5763ACD-1D08-4B13-B254-89AF7211A586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2696" y="861129"/>
            <a:ext cx="5472608" cy="30783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A9B43CDF-ECC4-4314-B82A-B821CE003F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28759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147477-A7EF-A8EC-F7EF-C94B081235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A896B1-1063-0F43-64F5-46808517DB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92150" y="860425"/>
            <a:ext cx="5473700" cy="30797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691BAD-DAF0-BBE6-7EBE-412B905F65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F4B27B-B2E7-C2CE-1784-BF0ABDD9B0A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E2C630-ECA9-4CD8-8B19-4901FE690E18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7 November 202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82E119-A769-BE4D-1F1B-6CB3A680D9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7689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B43CDF-ECC4-4314-B82A-B821CE003F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948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85419" y="1916113"/>
            <a:ext cx="7128744" cy="1441450"/>
          </a:xfrm>
        </p:spPr>
        <p:txBody>
          <a:bodyPr anchor="b" anchorCtr="0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585419" y="3500438"/>
            <a:ext cx="7128744" cy="21383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0" y="119063"/>
            <a:ext cx="3517900" cy="3233738"/>
          </a:xfrm>
          <a:custGeom>
            <a:avLst/>
            <a:gdLst>
              <a:gd name="T0" fmla="*/ 0 w 2216"/>
              <a:gd name="T1" fmla="*/ 1158 h 2037"/>
              <a:gd name="T2" fmla="*/ 0 w 2216"/>
              <a:gd name="T3" fmla="*/ 578 h 2037"/>
              <a:gd name="T4" fmla="*/ 0 w 2216"/>
              <a:gd name="T5" fmla="*/ 0 h 2037"/>
              <a:gd name="T6" fmla="*/ 18 w 2216"/>
              <a:gd name="T7" fmla="*/ 2 h 2037"/>
              <a:gd name="T8" fmla="*/ 35 w 2216"/>
              <a:gd name="T9" fmla="*/ 3 h 2037"/>
              <a:gd name="T10" fmla="*/ 51 w 2216"/>
              <a:gd name="T11" fmla="*/ 5 h 2037"/>
              <a:gd name="T12" fmla="*/ 68 w 2216"/>
              <a:gd name="T13" fmla="*/ 9 h 2037"/>
              <a:gd name="T14" fmla="*/ 84 w 2216"/>
              <a:gd name="T15" fmla="*/ 12 h 2037"/>
              <a:gd name="T16" fmla="*/ 99 w 2216"/>
              <a:gd name="T17" fmla="*/ 16 h 2037"/>
              <a:gd name="T18" fmla="*/ 115 w 2216"/>
              <a:gd name="T19" fmla="*/ 21 h 2037"/>
              <a:gd name="T20" fmla="*/ 130 w 2216"/>
              <a:gd name="T21" fmla="*/ 26 h 2037"/>
              <a:gd name="T22" fmla="*/ 159 w 2216"/>
              <a:gd name="T23" fmla="*/ 36 h 2037"/>
              <a:gd name="T24" fmla="*/ 185 w 2216"/>
              <a:gd name="T25" fmla="*/ 49 h 2037"/>
              <a:gd name="T26" fmla="*/ 211 w 2216"/>
              <a:gd name="T27" fmla="*/ 63 h 2037"/>
              <a:gd name="T28" fmla="*/ 233 w 2216"/>
              <a:gd name="T29" fmla="*/ 76 h 2037"/>
              <a:gd name="T30" fmla="*/ 254 w 2216"/>
              <a:gd name="T31" fmla="*/ 89 h 2037"/>
              <a:gd name="T32" fmla="*/ 273 w 2216"/>
              <a:gd name="T33" fmla="*/ 101 h 2037"/>
              <a:gd name="T34" fmla="*/ 301 w 2216"/>
              <a:gd name="T35" fmla="*/ 124 h 2037"/>
              <a:gd name="T36" fmla="*/ 312 w 2216"/>
              <a:gd name="T37" fmla="*/ 133 h 2037"/>
              <a:gd name="T38" fmla="*/ 319 w 2216"/>
              <a:gd name="T39" fmla="*/ 139 h 2037"/>
              <a:gd name="T40" fmla="*/ 327 w 2216"/>
              <a:gd name="T41" fmla="*/ 145 h 2037"/>
              <a:gd name="T42" fmla="*/ 1271 w 2216"/>
              <a:gd name="T43" fmla="*/ 1091 h 2037"/>
              <a:gd name="T44" fmla="*/ 2216 w 2216"/>
              <a:gd name="T45" fmla="*/ 2037 h 2037"/>
              <a:gd name="T46" fmla="*/ 1548 w 2216"/>
              <a:gd name="T47" fmla="*/ 2037 h 2037"/>
              <a:gd name="T48" fmla="*/ 879 w 2216"/>
              <a:gd name="T49" fmla="*/ 2037 h 2037"/>
              <a:gd name="T50" fmla="*/ 0 w 2216"/>
              <a:gd name="T51" fmla="*/ 1158 h 2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16" h="2037">
                <a:moveTo>
                  <a:pt x="0" y="1158"/>
                </a:moveTo>
                <a:lnTo>
                  <a:pt x="0" y="578"/>
                </a:lnTo>
                <a:lnTo>
                  <a:pt x="0" y="0"/>
                </a:lnTo>
                <a:lnTo>
                  <a:pt x="18" y="2"/>
                </a:lnTo>
                <a:lnTo>
                  <a:pt x="35" y="3"/>
                </a:lnTo>
                <a:lnTo>
                  <a:pt x="51" y="5"/>
                </a:lnTo>
                <a:lnTo>
                  <a:pt x="68" y="9"/>
                </a:lnTo>
                <a:lnTo>
                  <a:pt x="84" y="12"/>
                </a:lnTo>
                <a:lnTo>
                  <a:pt x="99" y="16"/>
                </a:lnTo>
                <a:lnTo>
                  <a:pt x="115" y="21"/>
                </a:lnTo>
                <a:lnTo>
                  <a:pt x="130" y="26"/>
                </a:lnTo>
                <a:lnTo>
                  <a:pt x="159" y="36"/>
                </a:lnTo>
                <a:lnTo>
                  <a:pt x="185" y="49"/>
                </a:lnTo>
                <a:lnTo>
                  <a:pt x="211" y="63"/>
                </a:lnTo>
                <a:lnTo>
                  <a:pt x="233" y="76"/>
                </a:lnTo>
                <a:lnTo>
                  <a:pt x="254" y="89"/>
                </a:lnTo>
                <a:lnTo>
                  <a:pt x="273" y="101"/>
                </a:lnTo>
                <a:lnTo>
                  <a:pt x="301" y="124"/>
                </a:lnTo>
                <a:lnTo>
                  <a:pt x="312" y="133"/>
                </a:lnTo>
                <a:lnTo>
                  <a:pt x="319" y="139"/>
                </a:lnTo>
                <a:lnTo>
                  <a:pt x="327" y="145"/>
                </a:lnTo>
                <a:lnTo>
                  <a:pt x="1271" y="1091"/>
                </a:lnTo>
                <a:lnTo>
                  <a:pt x="2216" y="2037"/>
                </a:lnTo>
                <a:lnTo>
                  <a:pt x="1548" y="2037"/>
                </a:lnTo>
                <a:lnTo>
                  <a:pt x="879" y="2037"/>
                </a:lnTo>
                <a:lnTo>
                  <a:pt x="0" y="11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0" y="3508376"/>
            <a:ext cx="3517900" cy="3233738"/>
          </a:xfrm>
          <a:custGeom>
            <a:avLst/>
            <a:gdLst>
              <a:gd name="T0" fmla="*/ 879 w 2216"/>
              <a:gd name="T1" fmla="*/ 0 h 2037"/>
              <a:gd name="T2" fmla="*/ 1548 w 2216"/>
              <a:gd name="T3" fmla="*/ 0 h 2037"/>
              <a:gd name="T4" fmla="*/ 2216 w 2216"/>
              <a:gd name="T5" fmla="*/ 0 h 2037"/>
              <a:gd name="T6" fmla="*/ 1271 w 2216"/>
              <a:gd name="T7" fmla="*/ 946 h 2037"/>
              <a:gd name="T8" fmla="*/ 327 w 2216"/>
              <a:gd name="T9" fmla="*/ 1892 h 2037"/>
              <a:gd name="T10" fmla="*/ 319 w 2216"/>
              <a:gd name="T11" fmla="*/ 1898 h 2037"/>
              <a:gd name="T12" fmla="*/ 312 w 2216"/>
              <a:gd name="T13" fmla="*/ 1905 h 2037"/>
              <a:gd name="T14" fmla="*/ 301 w 2216"/>
              <a:gd name="T15" fmla="*/ 1914 h 2037"/>
              <a:gd name="T16" fmla="*/ 288 w 2216"/>
              <a:gd name="T17" fmla="*/ 1925 h 2037"/>
              <a:gd name="T18" fmla="*/ 273 w 2216"/>
              <a:gd name="T19" fmla="*/ 1936 h 2037"/>
              <a:gd name="T20" fmla="*/ 254 w 2216"/>
              <a:gd name="T21" fmla="*/ 1948 h 2037"/>
              <a:gd name="T22" fmla="*/ 233 w 2216"/>
              <a:gd name="T23" fmla="*/ 1962 h 2037"/>
              <a:gd name="T24" fmla="*/ 211 w 2216"/>
              <a:gd name="T25" fmla="*/ 1976 h 2037"/>
              <a:gd name="T26" fmla="*/ 185 w 2216"/>
              <a:gd name="T27" fmla="*/ 1988 h 2037"/>
              <a:gd name="T28" fmla="*/ 159 w 2216"/>
              <a:gd name="T29" fmla="*/ 2001 h 2037"/>
              <a:gd name="T30" fmla="*/ 145 w 2216"/>
              <a:gd name="T31" fmla="*/ 2006 h 2037"/>
              <a:gd name="T32" fmla="*/ 130 w 2216"/>
              <a:gd name="T33" fmla="*/ 2012 h 2037"/>
              <a:gd name="T34" fmla="*/ 115 w 2216"/>
              <a:gd name="T35" fmla="*/ 2017 h 2037"/>
              <a:gd name="T36" fmla="*/ 99 w 2216"/>
              <a:gd name="T37" fmla="*/ 2021 h 2037"/>
              <a:gd name="T38" fmla="*/ 84 w 2216"/>
              <a:gd name="T39" fmla="*/ 2025 h 2037"/>
              <a:gd name="T40" fmla="*/ 68 w 2216"/>
              <a:gd name="T41" fmla="*/ 2029 h 2037"/>
              <a:gd name="T42" fmla="*/ 51 w 2216"/>
              <a:gd name="T43" fmla="*/ 2032 h 2037"/>
              <a:gd name="T44" fmla="*/ 35 w 2216"/>
              <a:gd name="T45" fmla="*/ 2035 h 2037"/>
              <a:gd name="T46" fmla="*/ 18 w 2216"/>
              <a:gd name="T47" fmla="*/ 2036 h 2037"/>
              <a:gd name="T48" fmla="*/ 0 w 2216"/>
              <a:gd name="T49" fmla="*/ 2037 h 2037"/>
              <a:gd name="T50" fmla="*/ 0 w 2216"/>
              <a:gd name="T51" fmla="*/ 1458 h 2037"/>
              <a:gd name="T52" fmla="*/ 0 w 2216"/>
              <a:gd name="T53" fmla="*/ 880 h 2037"/>
              <a:gd name="T54" fmla="*/ 879 w 2216"/>
              <a:gd name="T55" fmla="*/ 0 h 2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16" h="2037">
                <a:moveTo>
                  <a:pt x="879" y="0"/>
                </a:moveTo>
                <a:lnTo>
                  <a:pt x="1548" y="0"/>
                </a:lnTo>
                <a:lnTo>
                  <a:pt x="2216" y="0"/>
                </a:lnTo>
                <a:lnTo>
                  <a:pt x="1271" y="946"/>
                </a:lnTo>
                <a:lnTo>
                  <a:pt x="327" y="1892"/>
                </a:lnTo>
                <a:lnTo>
                  <a:pt x="319" y="1898"/>
                </a:lnTo>
                <a:lnTo>
                  <a:pt x="312" y="1905"/>
                </a:lnTo>
                <a:lnTo>
                  <a:pt x="301" y="1914"/>
                </a:lnTo>
                <a:lnTo>
                  <a:pt x="288" y="1925"/>
                </a:lnTo>
                <a:lnTo>
                  <a:pt x="273" y="1936"/>
                </a:lnTo>
                <a:lnTo>
                  <a:pt x="254" y="1948"/>
                </a:lnTo>
                <a:lnTo>
                  <a:pt x="233" y="1962"/>
                </a:lnTo>
                <a:lnTo>
                  <a:pt x="211" y="1976"/>
                </a:lnTo>
                <a:lnTo>
                  <a:pt x="185" y="1988"/>
                </a:lnTo>
                <a:lnTo>
                  <a:pt x="159" y="2001"/>
                </a:lnTo>
                <a:lnTo>
                  <a:pt x="145" y="2006"/>
                </a:lnTo>
                <a:lnTo>
                  <a:pt x="130" y="2012"/>
                </a:lnTo>
                <a:lnTo>
                  <a:pt x="115" y="2017"/>
                </a:lnTo>
                <a:lnTo>
                  <a:pt x="99" y="2021"/>
                </a:lnTo>
                <a:lnTo>
                  <a:pt x="84" y="2025"/>
                </a:lnTo>
                <a:lnTo>
                  <a:pt x="68" y="2029"/>
                </a:lnTo>
                <a:lnTo>
                  <a:pt x="51" y="2032"/>
                </a:lnTo>
                <a:lnTo>
                  <a:pt x="35" y="2035"/>
                </a:lnTo>
                <a:lnTo>
                  <a:pt x="18" y="2036"/>
                </a:lnTo>
                <a:lnTo>
                  <a:pt x="0" y="2037"/>
                </a:lnTo>
                <a:lnTo>
                  <a:pt x="0" y="1458"/>
                </a:lnTo>
                <a:lnTo>
                  <a:pt x="0" y="880"/>
                </a:lnTo>
                <a:lnTo>
                  <a:pt x="87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7566086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5175" cy="68580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488927"/>
            <a:ext cx="2952000" cy="2952328"/>
          </a:xfrm>
          <a:prstGeom prst="round2DiagRect">
            <a:avLst>
              <a:gd name="adj1" fmla="val 13501"/>
              <a:gd name="adj2" fmla="val 0"/>
            </a:avLst>
          </a:prstGeom>
          <a:solidFill>
            <a:srgbClr val="50B948">
              <a:alpha val="89804"/>
            </a:srgbClr>
          </a:solidFill>
        </p:spPr>
        <p:txBody>
          <a:bodyPr lIns="180000" tIns="162000" rIns="180000" bIns="162000" anchor="t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_confidentiality"/>
          <p:cNvSpPr/>
          <p:nvPr userDrawn="1"/>
        </p:nvSpPr>
        <p:spPr>
          <a:xfrm>
            <a:off x="9626219" y="116632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6897361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554456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9595" y="1557338"/>
            <a:ext cx="5544568" cy="4464049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5" y="6453336"/>
            <a:ext cx="3481312" cy="144019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20B8B-2849-41DA-9EF2-3156DAF3B9E7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93078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554456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9595" y="1557338"/>
            <a:ext cx="5544568" cy="4464049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5" y="6453336"/>
            <a:ext cx="3481312" cy="144019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AA5AB-B863-48F0-9D05-129B58706DA8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8162259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013" y="1557338"/>
            <a:ext cx="5544566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013" y="1916114"/>
            <a:ext cx="5544566" cy="4105275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9595" y="1557338"/>
            <a:ext cx="5544567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9595" y="1916114"/>
            <a:ext cx="5544568" cy="4105275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8834D-705C-4B27-8404-BC2D1813A97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146958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013" y="1557338"/>
            <a:ext cx="3671887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013" y="1916114"/>
            <a:ext cx="3671887" cy="4105275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Text Placeholder 2"/>
          <p:cNvSpPr>
            <a:spLocks noGrp="1"/>
          </p:cNvSpPr>
          <p:nvPr>
            <p:ph type="body" idx="14"/>
          </p:nvPr>
        </p:nvSpPr>
        <p:spPr>
          <a:xfrm>
            <a:off x="4297387" y="1557338"/>
            <a:ext cx="3600400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4297386" y="1916114"/>
            <a:ext cx="3600401" cy="4105275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041803" y="1557338"/>
            <a:ext cx="3672359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041803" y="1916114"/>
            <a:ext cx="3672359" cy="4105275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FC2C-7185-4D16-8F71-93F3D24A7E34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4284284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013" y="1557338"/>
            <a:ext cx="3671887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013" y="1916114"/>
            <a:ext cx="3671887" cy="2592387"/>
          </a:xfrm>
        </p:spPr>
        <p:txBody>
          <a:bodyPr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7" name="Content Placeholder 3"/>
          <p:cNvSpPr>
            <a:spLocks noGrp="1"/>
          </p:cNvSpPr>
          <p:nvPr>
            <p:ph sz="half" idx="16"/>
          </p:nvPr>
        </p:nvSpPr>
        <p:spPr>
          <a:xfrm>
            <a:off x="481013" y="4508501"/>
            <a:ext cx="3671887" cy="1507577"/>
          </a:xfrm>
        </p:spPr>
        <p:txBody>
          <a:bodyPr/>
          <a:lstStyle>
            <a:lvl1pPr marL="0" indent="0">
              <a:spcAft>
                <a:spcPts val="200"/>
              </a:spcAft>
              <a:buNone/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 marL="182563" indent="-182563">
              <a:spcAft>
                <a:spcPts val="200"/>
              </a:spcAft>
              <a:buFont typeface="Wingdings" panose="05000000000000000000" pitchFamily="2" charset="2"/>
              <a:buChar char="ä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4"/>
          </p:nvPr>
        </p:nvSpPr>
        <p:spPr>
          <a:xfrm>
            <a:off x="4297363" y="1557338"/>
            <a:ext cx="3600450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4297363" y="1916114"/>
            <a:ext cx="3600450" cy="2592387"/>
          </a:xfrm>
        </p:spPr>
        <p:txBody>
          <a:bodyPr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0" name="Content Placeholder 3"/>
          <p:cNvSpPr>
            <a:spLocks noGrp="1"/>
          </p:cNvSpPr>
          <p:nvPr>
            <p:ph sz="half" idx="17"/>
          </p:nvPr>
        </p:nvSpPr>
        <p:spPr>
          <a:xfrm>
            <a:off x="4297363" y="4508501"/>
            <a:ext cx="3600450" cy="1507577"/>
          </a:xfrm>
        </p:spPr>
        <p:txBody>
          <a:bodyPr/>
          <a:lstStyle>
            <a:lvl1pPr marL="0" indent="0">
              <a:spcAft>
                <a:spcPts val="200"/>
              </a:spcAft>
              <a:buNone/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 marL="182563" indent="-182563">
              <a:spcAft>
                <a:spcPts val="200"/>
              </a:spcAft>
              <a:buFont typeface="Wingdings" panose="05000000000000000000" pitchFamily="2" charset="2"/>
              <a:buChar char="ä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042275" y="1557338"/>
            <a:ext cx="3671888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042275" y="1916114"/>
            <a:ext cx="3671888" cy="2592387"/>
          </a:xfrm>
        </p:spPr>
        <p:txBody>
          <a:bodyPr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1" name="Content Placeholder 3"/>
          <p:cNvSpPr>
            <a:spLocks noGrp="1"/>
          </p:cNvSpPr>
          <p:nvPr>
            <p:ph sz="half" idx="18"/>
          </p:nvPr>
        </p:nvSpPr>
        <p:spPr>
          <a:xfrm>
            <a:off x="8042275" y="4508501"/>
            <a:ext cx="3671888" cy="1507577"/>
          </a:xfrm>
        </p:spPr>
        <p:txBody>
          <a:bodyPr/>
          <a:lstStyle>
            <a:lvl1pPr marL="0" indent="0">
              <a:spcAft>
                <a:spcPts val="200"/>
              </a:spcAft>
              <a:buNone/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 marL="182563" indent="-182563">
              <a:spcAft>
                <a:spcPts val="200"/>
              </a:spcAft>
              <a:buFont typeface="Wingdings" panose="05000000000000000000" pitchFamily="2" charset="2"/>
              <a:buChar char="ä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83FE6-D1B5-4034-9004-77C64DC0BC4C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2850434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013" y="1557338"/>
            <a:ext cx="5544566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013" y="1916114"/>
            <a:ext cx="5544566" cy="2592387"/>
          </a:xfrm>
        </p:spPr>
        <p:txBody>
          <a:bodyPr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481013" y="4508501"/>
            <a:ext cx="5544566" cy="1507577"/>
          </a:xfrm>
        </p:spPr>
        <p:txBody>
          <a:bodyPr/>
          <a:lstStyle>
            <a:lvl1pPr marL="0" indent="0">
              <a:spcAft>
                <a:spcPts val="200"/>
              </a:spcAft>
              <a:buNone/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 marL="182563" indent="-182563">
              <a:spcAft>
                <a:spcPts val="200"/>
              </a:spcAft>
              <a:buFont typeface="Wingdings" panose="05000000000000000000" pitchFamily="2" charset="2"/>
              <a:buChar char="ä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9595" y="1557338"/>
            <a:ext cx="5544567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9595" y="1916114"/>
            <a:ext cx="5544567" cy="2592387"/>
          </a:xfrm>
        </p:spPr>
        <p:txBody>
          <a:bodyPr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3"/>
          <p:cNvSpPr>
            <a:spLocks noGrp="1"/>
          </p:cNvSpPr>
          <p:nvPr>
            <p:ph sz="half" idx="17"/>
          </p:nvPr>
        </p:nvSpPr>
        <p:spPr>
          <a:xfrm>
            <a:off x="6169595" y="4508501"/>
            <a:ext cx="5544568" cy="1507577"/>
          </a:xfrm>
        </p:spPr>
        <p:txBody>
          <a:bodyPr/>
          <a:lstStyle>
            <a:lvl1pPr marL="0" indent="0">
              <a:spcAft>
                <a:spcPts val="200"/>
              </a:spcAft>
              <a:buNone/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 marL="182563" indent="-182563">
              <a:spcAft>
                <a:spcPts val="200"/>
              </a:spcAft>
              <a:buFont typeface="Wingdings" panose="05000000000000000000" pitchFamily="2" charset="2"/>
              <a:buChar char="ä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245C5-D37D-4DB4-98A6-3CCF503A210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757495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013" y="1557338"/>
            <a:ext cx="11233150" cy="35949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013" y="1916114"/>
            <a:ext cx="11233150" cy="2592387"/>
          </a:xfrm>
        </p:spPr>
        <p:txBody>
          <a:bodyPr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481013" y="4508501"/>
            <a:ext cx="11233150" cy="1507577"/>
          </a:xfrm>
        </p:spPr>
        <p:txBody>
          <a:bodyPr/>
          <a:lstStyle>
            <a:lvl1pPr marL="0" indent="0">
              <a:spcAft>
                <a:spcPts val="200"/>
              </a:spcAft>
              <a:buNone/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 marL="182563" indent="-182563">
              <a:spcAft>
                <a:spcPts val="200"/>
              </a:spcAft>
              <a:buFont typeface="Wingdings" panose="05000000000000000000" pitchFamily="2" charset="2"/>
              <a:buChar char="ä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71A7A9-CC36-47FE-B9A2-A5E899C61296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3632368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482137" y="1557338"/>
            <a:ext cx="2232025" cy="4464050"/>
          </a:xfrm>
          <a:prstGeom prst="round2DiagRect">
            <a:avLst>
              <a:gd name="adj1" fmla="val 16014"/>
              <a:gd name="adj2" fmla="val 0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8856934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5B7D47-DBD7-408B-A513-80FB14715C22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062730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8856934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9482137" y="1557339"/>
            <a:ext cx="2232025" cy="2232025"/>
          </a:xfrm>
          <a:custGeom>
            <a:avLst/>
            <a:gdLst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0 h 2317517"/>
              <a:gd name="connsiteX1" fmla="*/ 2232025 w 2232025"/>
              <a:gd name="connsiteY1" fmla="*/ 0 h 2317517"/>
              <a:gd name="connsiteX2" fmla="*/ 2232025 w 2232025"/>
              <a:gd name="connsiteY2" fmla="*/ 0 h 2317517"/>
              <a:gd name="connsiteX3" fmla="*/ 2229320 w 2232025"/>
              <a:gd name="connsiteY3" fmla="*/ 2228987 h 2317517"/>
              <a:gd name="connsiteX4" fmla="*/ 1874589 w 2232025"/>
              <a:gd name="connsiteY4" fmla="*/ 2232025 h 2317517"/>
              <a:gd name="connsiteX5" fmla="*/ 0 w 2232025"/>
              <a:gd name="connsiteY5" fmla="*/ 2232025 h 2317517"/>
              <a:gd name="connsiteX6" fmla="*/ 0 w 2232025"/>
              <a:gd name="connsiteY6" fmla="*/ 2232025 h 2317517"/>
              <a:gd name="connsiteX7" fmla="*/ 0 w 2232025"/>
              <a:gd name="connsiteY7" fmla="*/ 357436 h 2317517"/>
              <a:gd name="connsiteX8" fmla="*/ 357436 w 2232025"/>
              <a:gd name="connsiteY8" fmla="*/ 0 h 2317517"/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29320 w 2232025"/>
              <a:gd name="connsiteY3" fmla="*/ 2228987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32025" h="2232025">
                <a:moveTo>
                  <a:pt x="357436" y="0"/>
                </a:moveTo>
                <a:lnTo>
                  <a:pt x="2232025" y="0"/>
                </a:lnTo>
                <a:lnTo>
                  <a:pt x="2232025" y="0"/>
                </a:lnTo>
                <a:cubicBezTo>
                  <a:pt x="2231123" y="742996"/>
                  <a:pt x="2230222" y="1485991"/>
                  <a:pt x="2229320" y="2228987"/>
                </a:cubicBezTo>
                <a:cubicBezTo>
                  <a:pt x="2067000" y="2228904"/>
                  <a:pt x="2071995" y="2232025"/>
                  <a:pt x="1874589" y="2232025"/>
                </a:cubicBezTo>
                <a:lnTo>
                  <a:pt x="0" y="2232025"/>
                </a:lnTo>
                <a:lnTo>
                  <a:pt x="0" y="2232025"/>
                </a:lnTo>
                <a:lnTo>
                  <a:pt x="0" y="357436"/>
                </a:lnTo>
                <a:cubicBezTo>
                  <a:pt x="0" y="160030"/>
                  <a:pt x="160030" y="0"/>
                  <a:pt x="35743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482137" y="3786992"/>
            <a:ext cx="2232025" cy="2234397"/>
          </a:xfrm>
          <a:custGeom>
            <a:avLst/>
            <a:gdLst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91515 h 2323540"/>
              <a:gd name="connsiteX1" fmla="*/ 2232025 w 2232025"/>
              <a:gd name="connsiteY1" fmla="*/ 91515 h 2323540"/>
              <a:gd name="connsiteX2" fmla="*/ 2232025 w 2232025"/>
              <a:gd name="connsiteY2" fmla="*/ 91515 h 2323540"/>
              <a:gd name="connsiteX3" fmla="*/ 2232025 w 2232025"/>
              <a:gd name="connsiteY3" fmla="*/ 1966104 h 2323540"/>
              <a:gd name="connsiteX4" fmla="*/ 1874589 w 2232025"/>
              <a:gd name="connsiteY4" fmla="*/ 2323540 h 2323540"/>
              <a:gd name="connsiteX5" fmla="*/ 0 w 2232025"/>
              <a:gd name="connsiteY5" fmla="*/ 2323540 h 2323540"/>
              <a:gd name="connsiteX6" fmla="*/ 0 w 2232025"/>
              <a:gd name="connsiteY6" fmla="*/ 2323540 h 2323540"/>
              <a:gd name="connsiteX7" fmla="*/ 0 w 2232025"/>
              <a:gd name="connsiteY7" fmla="*/ 86438 h 2323540"/>
              <a:gd name="connsiteX8" fmla="*/ 357436 w 2232025"/>
              <a:gd name="connsiteY8" fmla="*/ 91515 h 2323540"/>
              <a:gd name="connsiteX0" fmla="*/ 357436 w 2232025"/>
              <a:gd name="connsiteY0" fmla="*/ 5077 h 2237102"/>
              <a:gd name="connsiteX1" fmla="*/ 2232025 w 2232025"/>
              <a:gd name="connsiteY1" fmla="*/ 5077 h 2237102"/>
              <a:gd name="connsiteX2" fmla="*/ 2232025 w 2232025"/>
              <a:gd name="connsiteY2" fmla="*/ 5077 h 2237102"/>
              <a:gd name="connsiteX3" fmla="*/ 2232025 w 2232025"/>
              <a:gd name="connsiteY3" fmla="*/ 1879666 h 2237102"/>
              <a:gd name="connsiteX4" fmla="*/ 1874589 w 2232025"/>
              <a:gd name="connsiteY4" fmla="*/ 2237102 h 2237102"/>
              <a:gd name="connsiteX5" fmla="*/ 0 w 2232025"/>
              <a:gd name="connsiteY5" fmla="*/ 2237102 h 2237102"/>
              <a:gd name="connsiteX6" fmla="*/ 0 w 2232025"/>
              <a:gd name="connsiteY6" fmla="*/ 2237102 h 2237102"/>
              <a:gd name="connsiteX7" fmla="*/ 0 w 2232025"/>
              <a:gd name="connsiteY7" fmla="*/ 0 h 2237102"/>
              <a:gd name="connsiteX8" fmla="*/ 357436 w 2232025"/>
              <a:gd name="connsiteY8" fmla="*/ 5077 h 2237102"/>
              <a:gd name="connsiteX0" fmla="*/ 357436 w 2232025"/>
              <a:gd name="connsiteY0" fmla="*/ 5077 h 2237102"/>
              <a:gd name="connsiteX1" fmla="*/ 2232025 w 2232025"/>
              <a:gd name="connsiteY1" fmla="*/ 5077 h 2237102"/>
              <a:gd name="connsiteX2" fmla="*/ 2232025 w 2232025"/>
              <a:gd name="connsiteY2" fmla="*/ 5077 h 2237102"/>
              <a:gd name="connsiteX3" fmla="*/ 2232025 w 2232025"/>
              <a:gd name="connsiteY3" fmla="*/ 1879666 h 2237102"/>
              <a:gd name="connsiteX4" fmla="*/ 1874589 w 2232025"/>
              <a:gd name="connsiteY4" fmla="*/ 2237102 h 2237102"/>
              <a:gd name="connsiteX5" fmla="*/ 0 w 2232025"/>
              <a:gd name="connsiteY5" fmla="*/ 2237102 h 2237102"/>
              <a:gd name="connsiteX6" fmla="*/ 0 w 2232025"/>
              <a:gd name="connsiteY6" fmla="*/ 2237102 h 2237102"/>
              <a:gd name="connsiteX7" fmla="*/ 0 w 2232025"/>
              <a:gd name="connsiteY7" fmla="*/ 0 h 2237102"/>
              <a:gd name="connsiteX8" fmla="*/ 357436 w 2232025"/>
              <a:gd name="connsiteY8" fmla="*/ 5077 h 2237102"/>
              <a:gd name="connsiteX0" fmla="*/ 357436 w 2232025"/>
              <a:gd name="connsiteY0" fmla="*/ 2372 h 2234397"/>
              <a:gd name="connsiteX1" fmla="*/ 2232025 w 2232025"/>
              <a:gd name="connsiteY1" fmla="*/ 2372 h 2234397"/>
              <a:gd name="connsiteX2" fmla="*/ 2232025 w 2232025"/>
              <a:gd name="connsiteY2" fmla="*/ 2372 h 2234397"/>
              <a:gd name="connsiteX3" fmla="*/ 2232025 w 2232025"/>
              <a:gd name="connsiteY3" fmla="*/ 1876961 h 2234397"/>
              <a:gd name="connsiteX4" fmla="*/ 1874589 w 2232025"/>
              <a:gd name="connsiteY4" fmla="*/ 2234397 h 2234397"/>
              <a:gd name="connsiteX5" fmla="*/ 0 w 2232025"/>
              <a:gd name="connsiteY5" fmla="*/ 2234397 h 2234397"/>
              <a:gd name="connsiteX6" fmla="*/ 0 w 2232025"/>
              <a:gd name="connsiteY6" fmla="*/ 2234397 h 2234397"/>
              <a:gd name="connsiteX7" fmla="*/ 0 w 2232025"/>
              <a:gd name="connsiteY7" fmla="*/ 0 h 2234397"/>
              <a:gd name="connsiteX8" fmla="*/ 357436 w 2232025"/>
              <a:gd name="connsiteY8" fmla="*/ 2372 h 223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32025" h="2234397">
                <a:moveTo>
                  <a:pt x="357436" y="2372"/>
                </a:moveTo>
                <a:lnTo>
                  <a:pt x="2232025" y="2372"/>
                </a:lnTo>
                <a:lnTo>
                  <a:pt x="2232025" y="2372"/>
                </a:lnTo>
                <a:lnTo>
                  <a:pt x="2232025" y="1876961"/>
                </a:lnTo>
                <a:cubicBezTo>
                  <a:pt x="2232025" y="2074367"/>
                  <a:pt x="2071995" y="2234397"/>
                  <a:pt x="1874589" y="2234397"/>
                </a:cubicBezTo>
                <a:lnTo>
                  <a:pt x="0" y="2234397"/>
                </a:lnTo>
                <a:lnTo>
                  <a:pt x="0" y="2234397"/>
                </a:lnTo>
                <a:lnTo>
                  <a:pt x="0" y="0"/>
                </a:lnTo>
                <a:lnTo>
                  <a:pt x="357436" y="2372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0F8032-68AC-48C7-BE2A-A98DF45EC713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158331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07E44A3-7437-4589-BAA2-9FC7838371E6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896499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662468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7249715" y="1557338"/>
            <a:ext cx="4464448" cy="4464050"/>
          </a:xfrm>
          <a:prstGeom prst="round2DiagRect">
            <a:avLst>
              <a:gd name="adj1" fmla="val 8192"/>
              <a:gd name="adj2" fmla="val 0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4E4B0-2D5F-4724-BEB0-2070904E7DC8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5350479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662468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7250113" y="1557339"/>
            <a:ext cx="2232024" cy="2232025"/>
          </a:xfrm>
          <a:custGeom>
            <a:avLst/>
            <a:gdLst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0 h 2317517"/>
              <a:gd name="connsiteX1" fmla="*/ 2232025 w 2232025"/>
              <a:gd name="connsiteY1" fmla="*/ 0 h 2317517"/>
              <a:gd name="connsiteX2" fmla="*/ 2232025 w 2232025"/>
              <a:gd name="connsiteY2" fmla="*/ 0 h 2317517"/>
              <a:gd name="connsiteX3" fmla="*/ 2229320 w 2232025"/>
              <a:gd name="connsiteY3" fmla="*/ 2228987 h 2317517"/>
              <a:gd name="connsiteX4" fmla="*/ 1874589 w 2232025"/>
              <a:gd name="connsiteY4" fmla="*/ 2232025 h 2317517"/>
              <a:gd name="connsiteX5" fmla="*/ 0 w 2232025"/>
              <a:gd name="connsiteY5" fmla="*/ 2232025 h 2317517"/>
              <a:gd name="connsiteX6" fmla="*/ 0 w 2232025"/>
              <a:gd name="connsiteY6" fmla="*/ 2232025 h 2317517"/>
              <a:gd name="connsiteX7" fmla="*/ 0 w 2232025"/>
              <a:gd name="connsiteY7" fmla="*/ 357436 h 2317517"/>
              <a:gd name="connsiteX8" fmla="*/ 357436 w 2232025"/>
              <a:gd name="connsiteY8" fmla="*/ 0 h 2317517"/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29320 w 2232025"/>
              <a:gd name="connsiteY3" fmla="*/ 2228987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32025" h="2232025">
                <a:moveTo>
                  <a:pt x="357436" y="0"/>
                </a:moveTo>
                <a:lnTo>
                  <a:pt x="2232025" y="0"/>
                </a:lnTo>
                <a:lnTo>
                  <a:pt x="2232025" y="0"/>
                </a:lnTo>
                <a:cubicBezTo>
                  <a:pt x="2231123" y="742996"/>
                  <a:pt x="2230222" y="1485991"/>
                  <a:pt x="2229320" y="2228987"/>
                </a:cubicBezTo>
                <a:cubicBezTo>
                  <a:pt x="2067000" y="2228904"/>
                  <a:pt x="2071995" y="2232025"/>
                  <a:pt x="1874589" y="2232025"/>
                </a:cubicBezTo>
                <a:lnTo>
                  <a:pt x="0" y="2232025"/>
                </a:lnTo>
                <a:lnTo>
                  <a:pt x="0" y="2232025"/>
                </a:lnTo>
                <a:lnTo>
                  <a:pt x="0" y="357436"/>
                </a:lnTo>
                <a:cubicBezTo>
                  <a:pt x="0" y="160030"/>
                  <a:pt x="160030" y="0"/>
                  <a:pt x="35743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9482137" y="1557339"/>
            <a:ext cx="2232026" cy="2232025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250113" y="3790714"/>
            <a:ext cx="2232024" cy="2232025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482137" y="3786992"/>
            <a:ext cx="2232025" cy="2234397"/>
          </a:xfrm>
          <a:custGeom>
            <a:avLst/>
            <a:gdLst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0 h 2232025"/>
              <a:gd name="connsiteX1" fmla="*/ 2232025 w 2232025"/>
              <a:gd name="connsiteY1" fmla="*/ 0 h 2232025"/>
              <a:gd name="connsiteX2" fmla="*/ 2232025 w 2232025"/>
              <a:gd name="connsiteY2" fmla="*/ 0 h 2232025"/>
              <a:gd name="connsiteX3" fmla="*/ 2232025 w 2232025"/>
              <a:gd name="connsiteY3" fmla="*/ 1874589 h 2232025"/>
              <a:gd name="connsiteX4" fmla="*/ 1874589 w 2232025"/>
              <a:gd name="connsiteY4" fmla="*/ 2232025 h 2232025"/>
              <a:gd name="connsiteX5" fmla="*/ 0 w 2232025"/>
              <a:gd name="connsiteY5" fmla="*/ 2232025 h 2232025"/>
              <a:gd name="connsiteX6" fmla="*/ 0 w 2232025"/>
              <a:gd name="connsiteY6" fmla="*/ 2232025 h 2232025"/>
              <a:gd name="connsiteX7" fmla="*/ 0 w 2232025"/>
              <a:gd name="connsiteY7" fmla="*/ 357436 h 2232025"/>
              <a:gd name="connsiteX8" fmla="*/ 357436 w 2232025"/>
              <a:gd name="connsiteY8" fmla="*/ 0 h 2232025"/>
              <a:gd name="connsiteX0" fmla="*/ 357436 w 2232025"/>
              <a:gd name="connsiteY0" fmla="*/ 91515 h 2323540"/>
              <a:gd name="connsiteX1" fmla="*/ 2232025 w 2232025"/>
              <a:gd name="connsiteY1" fmla="*/ 91515 h 2323540"/>
              <a:gd name="connsiteX2" fmla="*/ 2232025 w 2232025"/>
              <a:gd name="connsiteY2" fmla="*/ 91515 h 2323540"/>
              <a:gd name="connsiteX3" fmla="*/ 2232025 w 2232025"/>
              <a:gd name="connsiteY3" fmla="*/ 1966104 h 2323540"/>
              <a:gd name="connsiteX4" fmla="*/ 1874589 w 2232025"/>
              <a:gd name="connsiteY4" fmla="*/ 2323540 h 2323540"/>
              <a:gd name="connsiteX5" fmla="*/ 0 w 2232025"/>
              <a:gd name="connsiteY5" fmla="*/ 2323540 h 2323540"/>
              <a:gd name="connsiteX6" fmla="*/ 0 w 2232025"/>
              <a:gd name="connsiteY6" fmla="*/ 2323540 h 2323540"/>
              <a:gd name="connsiteX7" fmla="*/ 0 w 2232025"/>
              <a:gd name="connsiteY7" fmla="*/ 86438 h 2323540"/>
              <a:gd name="connsiteX8" fmla="*/ 357436 w 2232025"/>
              <a:gd name="connsiteY8" fmla="*/ 91515 h 2323540"/>
              <a:gd name="connsiteX0" fmla="*/ 357436 w 2232025"/>
              <a:gd name="connsiteY0" fmla="*/ 5077 h 2237102"/>
              <a:gd name="connsiteX1" fmla="*/ 2232025 w 2232025"/>
              <a:gd name="connsiteY1" fmla="*/ 5077 h 2237102"/>
              <a:gd name="connsiteX2" fmla="*/ 2232025 w 2232025"/>
              <a:gd name="connsiteY2" fmla="*/ 5077 h 2237102"/>
              <a:gd name="connsiteX3" fmla="*/ 2232025 w 2232025"/>
              <a:gd name="connsiteY3" fmla="*/ 1879666 h 2237102"/>
              <a:gd name="connsiteX4" fmla="*/ 1874589 w 2232025"/>
              <a:gd name="connsiteY4" fmla="*/ 2237102 h 2237102"/>
              <a:gd name="connsiteX5" fmla="*/ 0 w 2232025"/>
              <a:gd name="connsiteY5" fmla="*/ 2237102 h 2237102"/>
              <a:gd name="connsiteX6" fmla="*/ 0 w 2232025"/>
              <a:gd name="connsiteY6" fmla="*/ 2237102 h 2237102"/>
              <a:gd name="connsiteX7" fmla="*/ 0 w 2232025"/>
              <a:gd name="connsiteY7" fmla="*/ 0 h 2237102"/>
              <a:gd name="connsiteX8" fmla="*/ 357436 w 2232025"/>
              <a:gd name="connsiteY8" fmla="*/ 5077 h 2237102"/>
              <a:gd name="connsiteX0" fmla="*/ 357436 w 2232025"/>
              <a:gd name="connsiteY0" fmla="*/ 5077 h 2237102"/>
              <a:gd name="connsiteX1" fmla="*/ 2232025 w 2232025"/>
              <a:gd name="connsiteY1" fmla="*/ 5077 h 2237102"/>
              <a:gd name="connsiteX2" fmla="*/ 2232025 w 2232025"/>
              <a:gd name="connsiteY2" fmla="*/ 5077 h 2237102"/>
              <a:gd name="connsiteX3" fmla="*/ 2232025 w 2232025"/>
              <a:gd name="connsiteY3" fmla="*/ 1879666 h 2237102"/>
              <a:gd name="connsiteX4" fmla="*/ 1874589 w 2232025"/>
              <a:gd name="connsiteY4" fmla="*/ 2237102 h 2237102"/>
              <a:gd name="connsiteX5" fmla="*/ 0 w 2232025"/>
              <a:gd name="connsiteY5" fmla="*/ 2237102 h 2237102"/>
              <a:gd name="connsiteX6" fmla="*/ 0 w 2232025"/>
              <a:gd name="connsiteY6" fmla="*/ 2237102 h 2237102"/>
              <a:gd name="connsiteX7" fmla="*/ 0 w 2232025"/>
              <a:gd name="connsiteY7" fmla="*/ 0 h 2237102"/>
              <a:gd name="connsiteX8" fmla="*/ 357436 w 2232025"/>
              <a:gd name="connsiteY8" fmla="*/ 5077 h 2237102"/>
              <a:gd name="connsiteX0" fmla="*/ 357436 w 2232025"/>
              <a:gd name="connsiteY0" fmla="*/ 2372 h 2234397"/>
              <a:gd name="connsiteX1" fmla="*/ 2232025 w 2232025"/>
              <a:gd name="connsiteY1" fmla="*/ 2372 h 2234397"/>
              <a:gd name="connsiteX2" fmla="*/ 2232025 w 2232025"/>
              <a:gd name="connsiteY2" fmla="*/ 2372 h 2234397"/>
              <a:gd name="connsiteX3" fmla="*/ 2232025 w 2232025"/>
              <a:gd name="connsiteY3" fmla="*/ 1876961 h 2234397"/>
              <a:gd name="connsiteX4" fmla="*/ 1874589 w 2232025"/>
              <a:gd name="connsiteY4" fmla="*/ 2234397 h 2234397"/>
              <a:gd name="connsiteX5" fmla="*/ 0 w 2232025"/>
              <a:gd name="connsiteY5" fmla="*/ 2234397 h 2234397"/>
              <a:gd name="connsiteX6" fmla="*/ 0 w 2232025"/>
              <a:gd name="connsiteY6" fmla="*/ 2234397 h 2234397"/>
              <a:gd name="connsiteX7" fmla="*/ 0 w 2232025"/>
              <a:gd name="connsiteY7" fmla="*/ 0 h 2234397"/>
              <a:gd name="connsiteX8" fmla="*/ 357436 w 2232025"/>
              <a:gd name="connsiteY8" fmla="*/ 2372 h 223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32025" h="2234397">
                <a:moveTo>
                  <a:pt x="357436" y="2372"/>
                </a:moveTo>
                <a:lnTo>
                  <a:pt x="2232025" y="2372"/>
                </a:lnTo>
                <a:lnTo>
                  <a:pt x="2232025" y="2372"/>
                </a:lnTo>
                <a:lnTo>
                  <a:pt x="2232025" y="1876961"/>
                </a:lnTo>
                <a:cubicBezTo>
                  <a:pt x="2232025" y="2074367"/>
                  <a:pt x="2071995" y="2234397"/>
                  <a:pt x="1874589" y="2234397"/>
                </a:cubicBezTo>
                <a:lnTo>
                  <a:pt x="0" y="2234397"/>
                </a:lnTo>
                <a:lnTo>
                  <a:pt x="0" y="2234397"/>
                </a:lnTo>
                <a:lnTo>
                  <a:pt x="0" y="0"/>
                </a:lnTo>
                <a:lnTo>
                  <a:pt x="357436" y="2372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981D-3917-49E2-BAC1-4F148449B8C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0313757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81013" y="1557338"/>
            <a:ext cx="11233150" cy="4464050"/>
          </a:xfrm>
          <a:prstGeom prst="round2DiagRect">
            <a:avLst>
              <a:gd name="adj1" fmla="val 8193"/>
              <a:gd name="adj2" fmla="val 0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D82CD-1058-4A83-9E31-EB25DE263D7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92902800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81013" y="476672"/>
            <a:ext cx="11233150" cy="5544716"/>
          </a:xfrm>
          <a:prstGeom prst="round2DiagRect">
            <a:avLst>
              <a:gd name="adj1" fmla="val 6693"/>
              <a:gd name="adj2" fmla="val 0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7F9E2-E027-41BC-92AE-00BFE5F0205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88488526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662468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7250112" y="1557340"/>
            <a:ext cx="4464048" cy="863549"/>
          </a:xfrm>
          <a:prstGeom prst="round1Rect">
            <a:avLst>
              <a:gd name="adj" fmla="val 37282"/>
            </a:avLst>
          </a:prstGeom>
          <a:solidFill>
            <a:schemeClr val="accent1"/>
          </a:solidFill>
        </p:spPr>
        <p:txBody>
          <a:bodyPr lIns="108000" tIns="108000" rIns="108000" bIns="108000"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7250113" y="2420889"/>
            <a:ext cx="4464050" cy="3600499"/>
          </a:xfrm>
          <a:custGeom>
            <a:avLst/>
            <a:gdLst>
              <a:gd name="connsiteX0" fmla="*/ 367035 w 4031680"/>
              <a:gd name="connsiteY0" fmla="*/ 0 h 3600499"/>
              <a:gd name="connsiteX1" fmla="*/ 4031680 w 4031680"/>
              <a:gd name="connsiteY1" fmla="*/ 0 h 3600499"/>
              <a:gd name="connsiteX2" fmla="*/ 4031680 w 4031680"/>
              <a:gd name="connsiteY2" fmla="*/ 0 h 3600499"/>
              <a:gd name="connsiteX3" fmla="*/ 4031680 w 4031680"/>
              <a:gd name="connsiteY3" fmla="*/ 3233464 h 3600499"/>
              <a:gd name="connsiteX4" fmla="*/ 3664645 w 4031680"/>
              <a:gd name="connsiteY4" fmla="*/ 3600499 h 3600499"/>
              <a:gd name="connsiteX5" fmla="*/ 0 w 4031680"/>
              <a:gd name="connsiteY5" fmla="*/ 3600499 h 3600499"/>
              <a:gd name="connsiteX6" fmla="*/ 0 w 4031680"/>
              <a:gd name="connsiteY6" fmla="*/ 3600499 h 3600499"/>
              <a:gd name="connsiteX7" fmla="*/ 0 w 4031680"/>
              <a:gd name="connsiteY7" fmla="*/ 367035 h 3600499"/>
              <a:gd name="connsiteX8" fmla="*/ 367035 w 4031680"/>
              <a:gd name="connsiteY8" fmla="*/ 0 h 3600499"/>
              <a:gd name="connsiteX0" fmla="*/ 91965 w 4116565"/>
              <a:gd name="connsiteY0" fmla="*/ 0 h 3600499"/>
              <a:gd name="connsiteX1" fmla="*/ 4116565 w 4116565"/>
              <a:gd name="connsiteY1" fmla="*/ 0 h 3600499"/>
              <a:gd name="connsiteX2" fmla="*/ 4116565 w 4116565"/>
              <a:gd name="connsiteY2" fmla="*/ 0 h 3600499"/>
              <a:gd name="connsiteX3" fmla="*/ 4116565 w 4116565"/>
              <a:gd name="connsiteY3" fmla="*/ 3233464 h 3600499"/>
              <a:gd name="connsiteX4" fmla="*/ 3749530 w 4116565"/>
              <a:gd name="connsiteY4" fmla="*/ 3600499 h 3600499"/>
              <a:gd name="connsiteX5" fmla="*/ 84885 w 4116565"/>
              <a:gd name="connsiteY5" fmla="*/ 3600499 h 3600499"/>
              <a:gd name="connsiteX6" fmla="*/ 84885 w 4116565"/>
              <a:gd name="connsiteY6" fmla="*/ 3600499 h 3600499"/>
              <a:gd name="connsiteX7" fmla="*/ 84885 w 4116565"/>
              <a:gd name="connsiteY7" fmla="*/ 367035 h 3600499"/>
              <a:gd name="connsiteX8" fmla="*/ 91965 w 4116565"/>
              <a:gd name="connsiteY8" fmla="*/ 0 h 3600499"/>
              <a:gd name="connsiteX0" fmla="*/ 7080 w 4031680"/>
              <a:gd name="connsiteY0" fmla="*/ 0 h 3600499"/>
              <a:gd name="connsiteX1" fmla="*/ 4031680 w 4031680"/>
              <a:gd name="connsiteY1" fmla="*/ 0 h 3600499"/>
              <a:gd name="connsiteX2" fmla="*/ 4031680 w 4031680"/>
              <a:gd name="connsiteY2" fmla="*/ 0 h 3600499"/>
              <a:gd name="connsiteX3" fmla="*/ 4031680 w 4031680"/>
              <a:gd name="connsiteY3" fmla="*/ 3233464 h 3600499"/>
              <a:gd name="connsiteX4" fmla="*/ 3664645 w 4031680"/>
              <a:gd name="connsiteY4" fmla="*/ 3600499 h 3600499"/>
              <a:gd name="connsiteX5" fmla="*/ 0 w 4031680"/>
              <a:gd name="connsiteY5" fmla="*/ 3600499 h 3600499"/>
              <a:gd name="connsiteX6" fmla="*/ 0 w 4031680"/>
              <a:gd name="connsiteY6" fmla="*/ 3600499 h 3600499"/>
              <a:gd name="connsiteX7" fmla="*/ 0 w 4031680"/>
              <a:gd name="connsiteY7" fmla="*/ 367035 h 3600499"/>
              <a:gd name="connsiteX8" fmla="*/ 7080 w 4031680"/>
              <a:gd name="connsiteY8" fmla="*/ 0 h 3600499"/>
              <a:gd name="connsiteX0" fmla="*/ 1541 w 4031947"/>
              <a:gd name="connsiteY0" fmla="*/ 0 h 3600499"/>
              <a:gd name="connsiteX1" fmla="*/ 4031947 w 4031947"/>
              <a:gd name="connsiteY1" fmla="*/ 0 h 3600499"/>
              <a:gd name="connsiteX2" fmla="*/ 4031947 w 4031947"/>
              <a:gd name="connsiteY2" fmla="*/ 0 h 3600499"/>
              <a:gd name="connsiteX3" fmla="*/ 4031947 w 4031947"/>
              <a:gd name="connsiteY3" fmla="*/ 3233464 h 3600499"/>
              <a:gd name="connsiteX4" fmla="*/ 3664912 w 4031947"/>
              <a:gd name="connsiteY4" fmla="*/ 3600499 h 3600499"/>
              <a:gd name="connsiteX5" fmla="*/ 267 w 4031947"/>
              <a:gd name="connsiteY5" fmla="*/ 3600499 h 3600499"/>
              <a:gd name="connsiteX6" fmla="*/ 267 w 4031947"/>
              <a:gd name="connsiteY6" fmla="*/ 3600499 h 3600499"/>
              <a:gd name="connsiteX7" fmla="*/ 267 w 4031947"/>
              <a:gd name="connsiteY7" fmla="*/ 367035 h 3600499"/>
              <a:gd name="connsiteX8" fmla="*/ 1541 w 4031947"/>
              <a:gd name="connsiteY8" fmla="*/ 0 h 360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31947" h="3600499">
                <a:moveTo>
                  <a:pt x="1541" y="0"/>
                </a:moveTo>
                <a:lnTo>
                  <a:pt x="4031947" y="0"/>
                </a:lnTo>
                <a:lnTo>
                  <a:pt x="4031947" y="0"/>
                </a:lnTo>
                <a:lnTo>
                  <a:pt x="4031947" y="3233464"/>
                </a:lnTo>
                <a:cubicBezTo>
                  <a:pt x="4031947" y="3436172"/>
                  <a:pt x="3867620" y="3600499"/>
                  <a:pt x="3664912" y="3600499"/>
                </a:cubicBezTo>
                <a:lnTo>
                  <a:pt x="267" y="3600499"/>
                </a:lnTo>
                <a:lnTo>
                  <a:pt x="267" y="3600499"/>
                </a:lnTo>
                <a:lnTo>
                  <a:pt x="267" y="367035"/>
                </a:lnTo>
                <a:cubicBezTo>
                  <a:pt x="267" y="164327"/>
                  <a:pt x="-870" y="168365"/>
                  <a:pt x="154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57DA9-6D12-4018-9EAD-C9AC2A01CD0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9844241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5544565" cy="4468471"/>
          </a:xfrm>
          <a:prstGeom prst="round2DiagRect">
            <a:avLst>
              <a:gd name="adj1" fmla="val 8442"/>
              <a:gd name="adj2" fmla="val 0"/>
            </a:avLst>
          </a:prstGeom>
          <a:solidFill>
            <a:srgbClr val="50B948"/>
          </a:solidFill>
        </p:spPr>
        <p:txBody>
          <a:bodyPr lIns="90000" tIns="54000" rIns="90000" bIns="54000"/>
          <a:lstStyle>
            <a:lvl1pPr marL="182563" indent="-182563">
              <a:buClr>
                <a:schemeClr val="bg1"/>
              </a:buClr>
              <a:buFont typeface="Wingdings" panose="05000000000000000000" pitchFamily="2" charset="2"/>
              <a:buChar char=""/>
              <a:defRPr sz="2000">
                <a:solidFill>
                  <a:schemeClr val="bg1"/>
                </a:solidFill>
              </a:defRPr>
            </a:lvl1pPr>
            <a:lvl2pPr marL="357188" indent="-174625">
              <a:buClr>
                <a:schemeClr val="bg1"/>
              </a:buClr>
              <a:buFont typeface="Wingdings" panose="05000000000000000000" pitchFamily="2" charset="2"/>
              <a:buChar char=""/>
              <a:defRPr sz="1600">
                <a:solidFill>
                  <a:schemeClr val="bg1"/>
                </a:solidFill>
              </a:defRPr>
            </a:lvl2pPr>
            <a:lvl3pPr marL="539750" indent="-182563"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14375" indent="-174625">
              <a:buClr>
                <a:schemeClr val="bg1"/>
              </a:buClr>
              <a:buFont typeface="Arial" panose="020B0604020202020204" pitchFamily="34" charset="0"/>
              <a:buChar char="–"/>
              <a:defRPr sz="1400">
                <a:solidFill>
                  <a:schemeClr val="bg1"/>
                </a:solidFill>
              </a:defRPr>
            </a:lvl4pPr>
            <a:lvl5pPr marL="898525" indent="-1841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Content Placeholder 2"/>
          <p:cNvSpPr>
            <a:spLocks noGrp="1"/>
          </p:cNvSpPr>
          <p:nvPr>
            <p:ph sz="half" idx="15"/>
          </p:nvPr>
        </p:nvSpPr>
        <p:spPr>
          <a:xfrm>
            <a:off x="6169595" y="1557339"/>
            <a:ext cx="5544568" cy="4468471"/>
          </a:xfrm>
          <a:prstGeom prst="round2DiagRect">
            <a:avLst>
              <a:gd name="adj1" fmla="val 8442"/>
              <a:gd name="adj2" fmla="val 0"/>
            </a:avLst>
          </a:prstGeom>
          <a:solidFill>
            <a:schemeClr val="bg2"/>
          </a:solidFill>
        </p:spPr>
        <p:txBody>
          <a:bodyPr lIns="90000" tIns="54000" rIns="90000" bIns="54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–"/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467DE-8C3C-4DA4-89B4-1D59F65A98E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471856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662468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58ED9-EB11-49A3-B050-82AAF95255F4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5"/>
          </p:nvPr>
        </p:nvSpPr>
        <p:spPr>
          <a:xfrm>
            <a:off x="7250113" y="1557339"/>
            <a:ext cx="4464050" cy="2153860"/>
          </a:xfrm>
          <a:custGeom>
            <a:avLst/>
            <a:gdLst>
              <a:gd name="connsiteX0" fmla="*/ 358740 w 4464050"/>
              <a:gd name="connsiteY0" fmla="*/ 0 h 2152399"/>
              <a:gd name="connsiteX1" fmla="*/ 4464050 w 4464050"/>
              <a:gd name="connsiteY1" fmla="*/ 0 h 2152399"/>
              <a:gd name="connsiteX2" fmla="*/ 4464050 w 4464050"/>
              <a:gd name="connsiteY2" fmla="*/ 0 h 2152399"/>
              <a:gd name="connsiteX3" fmla="*/ 4464050 w 4464050"/>
              <a:gd name="connsiteY3" fmla="*/ 1793659 h 2152399"/>
              <a:gd name="connsiteX4" fmla="*/ 4105310 w 4464050"/>
              <a:gd name="connsiteY4" fmla="*/ 2152399 h 2152399"/>
              <a:gd name="connsiteX5" fmla="*/ 0 w 4464050"/>
              <a:gd name="connsiteY5" fmla="*/ 2152399 h 2152399"/>
              <a:gd name="connsiteX6" fmla="*/ 0 w 4464050"/>
              <a:gd name="connsiteY6" fmla="*/ 2152399 h 2152399"/>
              <a:gd name="connsiteX7" fmla="*/ 0 w 4464050"/>
              <a:gd name="connsiteY7" fmla="*/ 358740 h 2152399"/>
              <a:gd name="connsiteX8" fmla="*/ 358740 w 4464050"/>
              <a:gd name="connsiteY8" fmla="*/ 0 h 2152399"/>
              <a:gd name="connsiteX0" fmla="*/ 358740 w 4544488"/>
              <a:gd name="connsiteY0" fmla="*/ 0 h 2152399"/>
              <a:gd name="connsiteX1" fmla="*/ 4464050 w 4544488"/>
              <a:gd name="connsiteY1" fmla="*/ 0 h 2152399"/>
              <a:gd name="connsiteX2" fmla="*/ 4464050 w 4544488"/>
              <a:gd name="connsiteY2" fmla="*/ 0 h 2152399"/>
              <a:gd name="connsiteX3" fmla="*/ 4464050 w 4544488"/>
              <a:gd name="connsiteY3" fmla="*/ 1793659 h 2152399"/>
              <a:gd name="connsiteX4" fmla="*/ 4453653 w 4544488"/>
              <a:gd name="connsiteY4" fmla="*/ 2152399 h 2152399"/>
              <a:gd name="connsiteX5" fmla="*/ 0 w 4544488"/>
              <a:gd name="connsiteY5" fmla="*/ 2152399 h 2152399"/>
              <a:gd name="connsiteX6" fmla="*/ 0 w 4544488"/>
              <a:gd name="connsiteY6" fmla="*/ 2152399 h 2152399"/>
              <a:gd name="connsiteX7" fmla="*/ 0 w 4544488"/>
              <a:gd name="connsiteY7" fmla="*/ 358740 h 2152399"/>
              <a:gd name="connsiteX8" fmla="*/ 358740 w 4544488"/>
              <a:gd name="connsiteY8" fmla="*/ 0 h 2152399"/>
              <a:gd name="connsiteX0" fmla="*/ 358740 w 4464050"/>
              <a:gd name="connsiteY0" fmla="*/ 0 h 2152399"/>
              <a:gd name="connsiteX1" fmla="*/ 4464050 w 4464050"/>
              <a:gd name="connsiteY1" fmla="*/ 0 h 2152399"/>
              <a:gd name="connsiteX2" fmla="*/ 4464050 w 4464050"/>
              <a:gd name="connsiteY2" fmla="*/ 0 h 2152399"/>
              <a:gd name="connsiteX3" fmla="*/ 4464050 w 4464050"/>
              <a:gd name="connsiteY3" fmla="*/ 1793659 h 2152399"/>
              <a:gd name="connsiteX4" fmla="*/ 4453653 w 4464050"/>
              <a:gd name="connsiteY4" fmla="*/ 2152399 h 2152399"/>
              <a:gd name="connsiteX5" fmla="*/ 0 w 4464050"/>
              <a:gd name="connsiteY5" fmla="*/ 2152399 h 2152399"/>
              <a:gd name="connsiteX6" fmla="*/ 0 w 4464050"/>
              <a:gd name="connsiteY6" fmla="*/ 2152399 h 2152399"/>
              <a:gd name="connsiteX7" fmla="*/ 0 w 4464050"/>
              <a:gd name="connsiteY7" fmla="*/ 358740 h 2152399"/>
              <a:gd name="connsiteX8" fmla="*/ 358740 w 4464050"/>
              <a:gd name="connsiteY8" fmla="*/ 0 h 2152399"/>
              <a:gd name="connsiteX0" fmla="*/ 358740 w 4468168"/>
              <a:gd name="connsiteY0" fmla="*/ 0 h 2152399"/>
              <a:gd name="connsiteX1" fmla="*/ 4464050 w 4468168"/>
              <a:gd name="connsiteY1" fmla="*/ 0 h 2152399"/>
              <a:gd name="connsiteX2" fmla="*/ 4464050 w 4468168"/>
              <a:gd name="connsiteY2" fmla="*/ 0 h 2152399"/>
              <a:gd name="connsiteX3" fmla="*/ 4464050 w 4468168"/>
              <a:gd name="connsiteY3" fmla="*/ 1793659 h 2152399"/>
              <a:gd name="connsiteX4" fmla="*/ 4468168 w 4468168"/>
              <a:gd name="connsiteY4" fmla="*/ 2152399 h 2152399"/>
              <a:gd name="connsiteX5" fmla="*/ 0 w 4468168"/>
              <a:gd name="connsiteY5" fmla="*/ 2152399 h 2152399"/>
              <a:gd name="connsiteX6" fmla="*/ 0 w 4468168"/>
              <a:gd name="connsiteY6" fmla="*/ 2152399 h 2152399"/>
              <a:gd name="connsiteX7" fmla="*/ 0 w 4468168"/>
              <a:gd name="connsiteY7" fmla="*/ 358740 h 2152399"/>
              <a:gd name="connsiteX8" fmla="*/ 358740 w 4468168"/>
              <a:gd name="connsiteY8" fmla="*/ 0 h 2152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8168" h="2152399">
                <a:moveTo>
                  <a:pt x="358740" y="0"/>
                </a:moveTo>
                <a:lnTo>
                  <a:pt x="4464050" y="0"/>
                </a:lnTo>
                <a:lnTo>
                  <a:pt x="4464050" y="0"/>
                </a:lnTo>
                <a:lnTo>
                  <a:pt x="4464050" y="1793659"/>
                </a:lnTo>
                <a:cubicBezTo>
                  <a:pt x="4464050" y="1991786"/>
                  <a:pt x="4463095" y="1858485"/>
                  <a:pt x="4468168" y="2152399"/>
                </a:cubicBezTo>
                <a:lnTo>
                  <a:pt x="0" y="2152399"/>
                </a:lnTo>
                <a:lnTo>
                  <a:pt x="0" y="2152399"/>
                </a:lnTo>
                <a:lnTo>
                  <a:pt x="0" y="358740"/>
                </a:lnTo>
                <a:cubicBezTo>
                  <a:pt x="0" y="160613"/>
                  <a:pt x="160613" y="0"/>
                  <a:pt x="35874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bg1"/>
              </a:buClr>
              <a:buFont typeface="Wingdings" panose="05000000000000000000" pitchFamily="2" charset="2"/>
              <a:buChar char=""/>
              <a:defRPr sz="2000">
                <a:solidFill>
                  <a:schemeClr val="bg1"/>
                </a:solidFill>
              </a:defRPr>
            </a:lvl1pPr>
            <a:lvl2pPr marL="357188" indent="-174625">
              <a:buClr>
                <a:schemeClr val="bg1"/>
              </a:buClr>
              <a:buFont typeface="Wingdings" panose="05000000000000000000" pitchFamily="2" charset="2"/>
              <a:buChar char=""/>
              <a:defRPr sz="1600">
                <a:solidFill>
                  <a:schemeClr val="bg1"/>
                </a:solidFill>
              </a:defRPr>
            </a:lvl2pPr>
            <a:lvl3pPr marL="539750" indent="-182563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marL="714375" indent="-174625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898525" indent="-18415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7248511" y="3853900"/>
            <a:ext cx="4465652" cy="2167488"/>
          </a:xfrm>
          <a:custGeom>
            <a:avLst/>
            <a:gdLst>
              <a:gd name="connsiteX0" fmla="*/ 361255 w 4464050"/>
              <a:gd name="connsiteY0" fmla="*/ 0 h 2167488"/>
              <a:gd name="connsiteX1" fmla="*/ 4464050 w 4464050"/>
              <a:gd name="connsiteY1" fmla="*/ 0 h 2167488"/>
              <a:gd name="connsiteX2" fmla="*/ 4464050 w 4464050"/>
              <a:gd name="connsiteY2" fmla="*/ 0 h 2167488"/>
              <a:gd name="connsiteX3" fmla="*/ 4464050 w 4464050"/>
              <a:gd name="connsiteY3" fmla="*/ 1806233 h 2167488"/>
              <a:gd name="connsiteX4" fmla="*/ 4102795 w 4464050"/>
              <a:gd name="connsiteY4" fmla="*/ 2167488 h 2167488"/>
              <a:gd name="connsiteX5" fmla="*/ 0 w 4464050"/>
              <a:gd name="connsiteY5" fmla="*/ 2167488 h 2167488"/>
              <a:gd name="connsiteX6" fmla="*/ 0 w 4464050"/>
              <a:gd name="connsiteY6" fmla="*/ 2167488 h 2167488"/>
              <a:gd name="connsiteX7" fmla="*/ 0 w 4464050"/>
              <a:gd name="connsiteY7" fmla="*/ 361255 h 2167488"/>
              <a:gd name="connsiteX8" fmla="*/ 361255 w 4464050"/>
              <a:gd name="connsiteY8" fmla="*/ 0 h 2167488"/>
              <a:gd name="connsiteX0" fmla="*/ 90164 w 4548559"/>
              <a:gd name="connsiteY0" fmla="*/ 3629 h 2167488"/>
              <a:gd name="connsiteX1" fmla="*/ 4548559 w 4548559"/>
              <a:gd name="connsiteY1" fmla="*/ 0 h 2167488"/>
              <a:gd name="connsiteX2" fmla="*/ 4548559 w 4548559"/>
              <a:gd name="connsiteY2" fmla="*/ 0 h 2167488"/>
              <a:gd name="connsiteX3" fmla="*/ 4548559 w 4548559"/>
              <a:gd name="connsiteY3" fmla="*/ 1806233 h 2167488"/>
              <a:gd name="connsiteX4" fmla="*/ 4187304 w 4548559"/>
              <a:gd name="connsiteY4" fmla="*/ 2167488 h 2167488"/>
              <a:gd name="connsiteX5" fmla="*/ 84509 w 4548559"/>
              <a:gd name="connsiteY5" fmla="*/ 2167488 h 2167488"/>
              <a:gd name="connsiteX6" fmla="*/ 84509 w 4548559"/>
              <a:gd name="connsiteY6" fmla="*/ 2167488 h 2167488"/>
              <a:gd name="connsiteX7" fmla="*/ 84509 w 4548559"/>
              <a:gd name="connsiteY7" fmla="*/ 361255 h 2167488"/>
              <a:gd name="connsiteX8" fmla="*/ 90164 w 4548559"/>
              <a:gd name="connsiteY8" fmla="*/ 3629 h 2167488"/>
              <a:gd name="connsiteX0" fmla="*/ 5655 w 4464050"/>
              <a:gd name="connsiteY0" fmla="*/ 3629 h 2167488"/>
              <a:gd name="connsiteX1" fmla="*/ 4464050 w 4464050"/>
              <a:gd name="connsiteY1" fmla="*/ 0 h 2167488"/>
              <a:gd name="connsiteX2" fmla="*/ 4464050 w 4464050"/>
              <a:gd name="connsiteY2" fmla="*/ 0 h 2167488"/>
              <a:gd name="connsiteX3" fmla="*/ 4464050 w 4464050"/>
              <a:gd name="connsiteY3" fmla="*/ 1806233 h 2167488"/>
              <a:gd name="connsiteX4" fmla="*/ 4102795 w 4464050"/>
              <a:gd name="connsiteY4" fmla="*/ 2167488 h 2167488"/>
              <a:gd name="connsiteX5" fmla="*/ 0 w 4464050"/>
              <a:gd name="connsiteY5" fmla="*/ 2167488 h 2167488"/>
              <a:gd name="connsiteX6" fmla="*/ 0 w 4464050"/>
              <a:gd name="connsiteY6" fmla="*/ 2167488 h 2167488"/>
              <a:gd name="connsiteX7" fmla="*/ 0 w 4464050"/>
              <a:gd name="connsiteY7" fmla="*/ 361255 h 2167488"/>
              <a:gd name="connsiteX8" fmla="*/ 5655 w 4464050"/>
              <a:gd name="connsiteY8" fmla="*/ 3629 h 2167488"/>
              <a:gd name="connsiteX0" fmla="*/ 0 w 4465652"/>
              <a:gd name="connsiteY0" fmla="*/ 3629 h 2167488"/>
              <a:gd name="connsiteX1" fmla="*/ 4465652 w 4465652"/>
              <a:gd name="connsiteY1" fmla="*/ 0 h 2167488"/>
              <a:gd name="connsiteX2" fmla="*/ 4465652 w 4465652"/>
              <a:gd name="connsiteY2" fmla="*/ 0 h 2167488"/>
              <a:gd name="connsiteX3" fmla="*/ 4465652 w 4465652"/>
              <a:gd name="connsiteY3" fmla="*/ 1806233 h 2167488"/>
              <a:gd name="connsiteX4" fmla="*/ 4104397 w 4465652"/>
              <a:gd name="connsiteY4" fmla="*/ 2167488 h 2167488"/>
              <a:gd name="connsiteX5" fmla="*/ 1602 w 4465652"/>
              <a:gd name="connsiteY5" fmla="*/ 2167488 h 2167488"/>
              <a:gd name="connsiteX6" fmla="*/ 1602 w 4465652"/>
              <a:gd name="connsiteY6" fmla="*/ 2167488 h 2167488"/>
              <a:gd name="connsiteX7" fmla="*/ 1602 w 4465652"/>
              <a:gd name="connsiteY7" fmla="*/ 361255 h 2167488"/>
              <a:gd name="connsiteX8" fmla="*/ 0 w 4465652"/>
              <a:gd name="connsiteY8" fmla="*/ 3629 h 216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5652" h="2167488">
                <a:moveTo>
                  <a:pt x="0" y="3629"/>
                </a:moveTo>
                <a:lnTo>
                  <a:pt x="4465652" y="0"/>
                </a:lnTo>
                <a:lnTo>
                  <a:pt x="4465652" y="0"/>
                </a:lnTo>
                <a:lnTo>
                  <a:pt x="4465652" y="1806233"/>
                </a:lnTo>
                <a:cubicBezTo>
                  <a:pt x="4465652" y="2005749"/>
                  <a:pt x="4303913" y="2167488"/>
                  <a:pt x="4104397" y="2167488"/>
                </a:cubicBezTo>
                <a:lnTo>
                  <a:pt x="1602" y="2167488"/>
                </a:lnTo>
                <a:lnTo>
                  <a:pt x="1602" y="2167488"/>
                </a:lnTo>
                <a:lnTo>
                  <a:pt x="1602" y="361255"/>
                </a:lnTo>
                <a:cubicBezTo>
                  <a:pt x="1602" y="161739"/>
                  <a:pt x="55" y="141515"/>
                  <a:pt x="0" y="36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58269855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2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662468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BCCF23-784B-4BE9-9B31-370F275FB71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sz="half" idx="15"/>
          </p:nvPr>
        </p:nvSpPr>
        <p:spPr>
          <a:xfrm>
            <a:off x="7250113" y="1557339"/>
            <a:ext cx="4464050" cy="2153860"/>
          </a:xfrm>
          <a:custGeom>
            <a:avLst/>
            <a:gdLst>
              <a:gd name="connsiteX0" fmla="*/ 358740 w 4464050"/>
              <a:gd name="connsiteY0" fmla="*/ 0 h 2152399"/>
              <a:gd name="connsiteX1" fmla="*/ 4464050 w 4464050"/>
              <a:gd name="connsiteY1" fmla="*/ 0 h 2152399"/>
              <a:gd name="connsiteX2" fmla="*/ 4464050 w 4464050"/>
              <a:gd name="connsiteY2" fmla="*/ 0 h 2152399"/>
              <a:gd name="connsiteX3" fmla="*/ 4464050 w 4464050"/>
              <a:gd name="connsiteY3" fmla="*/ 1793659 h 2152399"/>
              <a:gd name="connsiteX4" fmla="*/ 4105310 w 4464050"/>
              <a:gd name="connsiteY4" fmla="*/ 2152399 h 2152399"/>
              <a:gd name="connsiteX5" fmla="*/ 0 w 4464050"/>
              <a:gd name="connsiteY5" fmla="*/ 2152399 h 2152399"/>
              <a:gd name="connsiteX6" fmla="*/ 0 w 4464050"/>
              <a:gd name="connsiteY6" fmla="*/ 2152399 h 2152399"/>
              <a:gd name="connsiteX7" fmla="*/ 0 w 4464050"/>
              <a:gd name="connsiteY7" fmla="*/ 358740 h 2152399"/>
              <a:gd name="connsiteX8" fmla="*/ 358740 w 4464050"/>
              <a:gd name="connsiteY8" fmla="*/ 0 h 2152399"/>
              <a:gd name="connsiteX0" fmla="*/ 358740 w 4544488"/>
              <a:gd name="connsiteY0" fmla="*/ 0 h 2152399"/>
              <a:gd name="connsiteX1" fmla="*/ 4464050 w 4544488"/>
              <a:gd name="connsiteY1" fmla="*/ 0 h 2152399"/>
              <a:gd name="connsiteX2" fmla="*/ 4464050 w 4544488"/>
              <a:gd name="connsiteY2" fmla="*/ 0 h 2152399"/>
              <a:gd name="connsiteX3" fmla="*/ 4464050 w 4544488"/>
              <a:gd name="connsiteY3" fmla="*/ 1793659 h 2152399"/>
              <a:gd name="connsiteX4" fmla="*/ 4453653 w 4544488"/>
              <a:gd name="connsiteY4" fmla="*/ 2152399 h 2152399"/>
              <a:gd name="connsiteX5" fmla="*/ 0 w 4544488"/>
              <a:gd name="connsiteY5" fmla="*/ 2152399 h 2152399"/>
              <a:gd name="connsiteX6" fmla="*/ 0 w 4544488"/>
              <a:gd name="connsiteY6" fmla="*/ 2152399 h 2152399"/>
              <a:gd name="connsiteX7" fmla="*/ 0 w 4544488"/>
              <a:gd name="connsiteY7" fmla="*/ 358740 h 2152399"/>
              <a:gd name="connsiteX8" fmla="*/ 358740 w 4544488"/>
              <a:gd name="connsiteY8" fmla="*/ 0 h 2152399"/>
              <a:gd name="connsiteX0" fmla="*/ 358740 w 4464050"/>
              <a:gd name="connsiteY0" fmla="*/ 0 h 2152399"/>
              <a:gd name="connsiteX1" fmla="*/ 4464050 w 4464050"/>
              <a:gd name="connsiteY1" fmla="*/ 0 h 2152399"/>
              <a:gd name="connsiteX2" fmla="*/ 4464050 w 4464050"/>
              <a:gd name="connsiteY2" fmla="*/ 0 h 2152399"/>
              <a:gd name="connsiteX3" fmla="*/ 4464050 w 4464050"/>
              <a:gd name="connsiteY3" fmla="*/ 1793659 h 2152399"/>
              <a:gd name="connsiteX4" fmla="*/ 4453653 w 4464050"/>
              <a:gd name="connsiteY4" fmla="*/ 2152399 h 2152399"/>
              <a:gd name="connsiteX5" fmla="*/ 0 w 4464050"/>
              <a:gd name="connsiteY5" fmla="*/ 2152399 h 2152399"/>
              <a:gd name="connsiteX6" fmla="*/ 0 w 4464050"/>
              <a:gd name="connsiteY6" fmla="*/ 2152399 h 2152399"/>
              <a:gd name="connsiteX7" fmla="*/ 0 w 4464050"/>
              <a:gd name="connsiteY7" fmla="*/ 358740 h 2152399"/>
              <a:gd name="connsiteX8" fmla="*/ 358740 w 4464050"/>
              <a:gd name="connsiteY8" fmla="*/ 0 h 2152399"/>
              <a:gd name="connsiteX0" fmla="*/ 358740 w 4468168"/>
              <a:gd name="connsiteY0" fmla="*/ 0 h 2152399"/>
              <a:gd name="connsiteX1" fmla="*/ 4464050 w 4468168"/>
              <a:gd name="connsiteY1" fmla="*/ 0 h 2152399"/>
              <a:gd name="connsiteX2" fmla="*/ 4464050 w 4468168"/>
              <a:gd name="connsiteY2" fmla="*/ 0 h 2152399"/>
              <a:gd name="connsiteX3" fmla="*/ 4464050 w 4468168"/>
              <a:gd name="connsiteY3" fmla="*/ 1793659 h 2152399"/>
              <a:gd name="connsiteX4" fmla="*/ 4468168 w 4468168"/>
              <a:gd name="connsiteY4" fmla="*/ 2152399 h 2152399"/>
              <a:gd name="connsiteX5" fmla="*/ 0 w 4468168"/>
              <a:gd name="connsiteY5" fmla="*/ 2152399 h 2152399"/>
              <a:gd name="connsiteX6" fmla="*/ 0 w 4468168"/>
              <a:gd name="connsiteY6" fmla="*/ 2152399 h 2152399"/>
              <a:gd name="connsiteX7" fmla="*/ 0 w 4468168"/>
              <a:gd name="connsiteY7" fmla="*/ 358740 h 2152399"/>
              <a:gd name="connsiteX8" fmla="*/ 358740 w 4468168"/>
              <a:gd name="connsiteY8" fmla="*/ 0 h 2152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8168" h="2152399">
                <a:moveTo>
                  <a:pt x="358740" y="0"/>
                </a:moveTo>
                <a:lnTo>
                  <a:pt x="4464050" y="0"/>
                </a:lnTo>
                <a:lnTo>
                  <a:pt x="4464050" y="0"/>
                </a:lnTo>
                <a:lnTo>
                  <a:pt x="4464050" y="1793659"/>
                </a:lnTo>
                <a:cubicBezTo>
                  <a:pt x="4464050" y="1991786"/>
                  <a:pt x="4463095" y="1858485"/>
                  <a:pt x="4468168" y="2152399"/>
                </a:cubicBezTo>
                <a:lnTo>
                  <a:pt x="0" y="2152399"/>
                </a:lnTo>
                <a:lnTo>
                  <a:pt x="0" y="2152399"/>
                </a:lnTo>
                <a:lnTo>
                  <a:pt x="0" y="358740"/>
                </a:lnTo>
                <a:cubicBezTo>
                  <a:pt x="0" y="160613"/>
                  <a:pt x="160613" y="0"/>
                  <a:pt x="358740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bg1"/>
              </a:buClr>
              <a:buFont typeface="Wingdings" panose="05000000000000000000" pitchFamily="2" charset="2"/>
              <a:buChar char=""/>
              <a:defRPr sz="2000">
                <a:solidFill>
                  <a:schemeClr val="bg1"/>
                </a:solidFill>
              </a:defRPr>
            </a:lvl1pPr>
            <a:lvl2pPr marL="357188" indent="-174625">
              <a:buClr>
                <a:schemeClr val="bg1"/>
              </a:buClr>
              <a:buFont typeface="Wingdings" panose="05000000000000000000" pitchFamily="2" charset="2"/>
              <a:buChar char=""/>
              <a:defRPr sz="1600">
                <a:solidFill>
                  <a:schemeClr val="bg1"/>
                </a:solidFill>
              </a:defRPr>
            </a:lvl2pPr>
            <a:lvl3pPr marL="539750" indent="-182563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marL="714375" indent="-174625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898525" indent="-18415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7248511" y="3853900"/>
            <a:ext cx="4465652" cy="2167488"/>
          </a:xfrm>
          <a:custGeom>
            <a:avLst/>
            <a:gdLst>
              <a:gd name="connsiteX0" fmla="*/ 361255 w 4464050"/>
              <a:gd name="connsiteY0" fmla="*/ 0 h 2167488"/>
              <a:gd name="connsiteX1" fmla="*/ 4464050 w 4464050"/>
              <a:gd name="connsiteY1" fmla="*/ 0 h 2167488"/>
              <a:gd name="connsiteX2" fmla="*/ 4464050 w 4464050"/>
              <a:gd name="connsiteY2" fmla="*/ 0 h 2167488"/>
              <a:gd name="connsiteX3" fmla="*/ 4464050 w 4464050"/>
              <a:gd name="connsiteY3" fmla="*/ 1806233 h 2167488"/>
              <a:gd name="connsiteX4" fmla="*/ 4102795 w 4464050"/>
              <a:gd name="connsiteY4" fmla="*/ 2167488 h 2167488"/>
              <a:gd name="connsiteX5" fmla="*/ 0 w 4464050"/>
              <a:gd name="connsiteY5" fmla="*/ 2167488 h 2167488"/>
              <a:gd name="connsiteX6" fmla="*/ 0 w 4464050"/>
              <a:gd name="connsiteY6" fmla="*/ 2167488 h 2167488"/>
              <a:gd name="connsiteX7" fmla="*/ 0 w 4464050"/>
              <a:gd name="connsiteY7" fmla="*/ 361255 h 2167488"/>
              <a:gd name="connsiteX8" fmla="*/ 361255 w 4464050"/>
              <a:gd name="connsiteY8" fmla="*/ 0 h 2167488"/>
              <a:gd name="connsiteX0" fmla="*/ 90164 w 4548559"/>
              <a:gd name="connsiteY0" fmla="*/ 3629 h 2167488"/>
              <a:gd name="connsiteX1" fmla="*/ 4548559 w 4548559"/>
              <a:gd name="connsiteY1" fmla="*/ 0 h 2167488"/>
              <a:gd name="connsiteX2" fmla="*/ 4548559 w 4548559"/>
              <a:gd name="connsiteY2" fmla="*/ 0 h 2167488"/>
              <a:gd name="connsiteX3" fmla="*/ 4548559 w 4548559"/>
              <a:gd name="connsiteY3" fmla="*/ 1806233 h 2167488"/>
              <a:gd name="connsiteX4" fmla="*/ 4187304 w 4548559"/>
              <a:gd name="connsiteY4" fmla="*/ 2167488 h 2167488"/>
              <a:gd name="connsiteX5" fmla="*/ 84509 w 4548559"/>
              <a:gd name="connsiteY5" fmla="*/ 2167488 h 2167488"/>
              <a:gd name="connsiteX6" fmla="*/ 84509 w 4548559"/>
              <a:gd name="connsiteY6" fmla="*/ 2167488 h 2167488"/>
              <a:gd name="connsiteX7" fmla="*/ 84509 w 4548559"/>
              <a:gd name="connsiteY7" fmla="*/ 361255 h 2167488"/>
              <a:gd name="connsiteX8" fmla="*/ 90164 w 4548559"/>
              <a:gd name="connsiteY8" fmla="*/ 3629 h 2167488"/>
              <a:gd name="connsiteX0" fmla="*/ 5655 w 4464050"/>
              <a:gd name="connsiteY0" fmla="*/ 3629 h 2167488"/>
              <a:gd name="connsiteX1" fmla="*/ 4464050 w 4464050"/>
              <a:gd name="connsiteY1" fmla="*/ 0 h 2167488"/>
              <a:gd name="connsiteX2" fmla="*/ 4464050 w 4464050"/>
              <a:gd name="connsiteY2" fmla="*/ 0 h 2167488"/>
              <a:gd name="connsiteX3" fmla="*/ 4464050 w 4464050"/>
              <a:gd name="connsiteY3" fmla="*/ 1806233 h 2167488"/>
              <a:gd name="connsiteX4" fmla="*/ 4102795 w 4464050"/>
              <a:gd name="connsiteY4" fmla="*/ 2167488 h 2167488"/>
              <a:gd name="connsiteX5" fmla="*/ 0 w 4464050"/>
              <a:gd name="connsiteY5" fmla="*/ 2167488 h 2167488"/>
              <a:gd name="connsiteX6" fmla="*/ 0 w 4464050"/>
              <a:gd name="connsiteY6" fmla="*/ 2167488 h 2167488"/>
              <a:gd name="connsiteX7" fmla="*/ 0 w 4464050"/>
              <a:gd name="connsiteY7" fmla="*/ 361255 h 2167488"/>
              <a:gd name="connsiteX8" fmla="*/ 5655 w 4464050"/>
              <a:gd name="connsiteY8" fmla="*/ 3629 h 2167488"/>
              <a:gd name="connsiteX0" fmla="*/ 0 w 4465652"/>
              <a:gd name="connsiteY0" fmla="*/ 3629 h 2167488"/>
              <a:gd name="connsiteX1" fmla="*/ 4465652 w 4465652"/>
              <a:gd name="connsiteY1" fmla="*/ 0 h 2167488"/>
              <a:gd name="connsiteX2" fmla="*/ 4465652 w 4465652"/>
              <a:gd name="connsiteY2" fmla="*/ 0 h 2167488"/>
              <a:gd name="connsiteX3" fmla="*/ 4465652 w 4465652"/>
              <a:gd name="connsiteY3" fmla="*/ 1806233 h 2167488"/>
              <a:gd name="connsiteX4" fmla="*/ 4104397 w 4465652"/>
              <a:gd name="connsiteY4" fmla="*/ 2167488 h 2167488"/>
              <a:gd name="connsiteX5" fmla="*/ 1602 w 4465652"/>
              <a:gd name="connsiteY5" fmla="*/ 2167488 h 2167488"/>
              <a:gd name="connsiteX6" fmla="*/ 1602 w 4465652"/>
              <a:gd name="connsiteY6" fmla="*/ 2167488 h 2167488"/>
              <a:gd name="connsiteX7" fmla="*/ 1602 w 4465652"/>
              <a:gd name="connsiteY7" fmla="*/ 361255 h 2167488"/>
              <a:gd name="connsiteX8" fmla="*/ 0 w 4465652"/>
              <a:gd name="connsiteY8" fmla="*/ 3629 h 216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5652" h="2167488">
                <a:moveTo>
                  <a:pt x="0" y="3629"/>
                </a:moveTo>
                <a:lnTo>
                  <a:pt x="4465652" y="0"/>
                </a:lnTo>
                <a:lnTo>
                  <a:pt x="4465652" y="0"/>
                </a:lnTo>
                <a:lnTo>
                  <a:pt x="4465652" y="1806233"/>
                </a:lnTo>
                <a:cubicBezTo>
                  <a:pt x="4465652" y="2005749"/>
                  <a:pt x="4303913" y="2167488"/>
                  <a:pt x="4104397" y="2167488"/>
                </a:cubicBezTo>
                <a:lnTo>
                  <a:pt x="1602" y="2167488"/>
                </a:lnTo>
                <a:lnTo>
                  <a:pt x="1602" y="2167488"/>
                </a:lnTo>
                <a:lnTo>
                  <a:pt x="1602" y="361255"/>
                </a:lnTo>
                <a:cubicBezTo>
                  <a:pt x="1602" y="161739"/>
                  <a:pt x="55" y="141515"/>
                  <a:pt x="0" y="36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0925364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8856934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0AAED-8162-4DA1-848A-60CD6A10649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5"/>
          </p:nvPr>
        </p:nvSpPr>
        <p:spPr>
          <a:xfrm>
            <a:off x="9482138" y="1558799"/>
            <a:ext cx="2229086" cy="2152399"/>
          </a:xfrm>
          <a:custGeom>
            <a:avLst/>
            <a:gdLst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42792 w 4042792"/>
              <a:gd name="connsiteY3" fmla="*/ 4131045 h 4464050"/>
              <a:gd name="connsiteX4" fmla="*/ 3709787 w 4042792"/>
              <a:gd name="connsiteY4" fmla="*/ 4464050 h 4464050"/>
              <a:gd name="connsiteX5" fmla="*/ 0 w 4042792"/>
              <a:gd name="connsiteY5" fmla="*/ 4464050 h 4464050"/>
              <a:gd name="connsiteX6" fmla="*/ 0 w 4042792"/>
              <a:gd name="connsiteY6" fmla="*/ 4464050 h 4464050"/>
              <a:gd name="connsiteX7" fmla="*/ 0 w 4042792"/>
              <a:gd name="connsiteY7" fmla="*/ 333005 h 4464050"/>
              <a:gd name="connsiteX8" fmla="*/ 333005 w 4042792"/>
              <a:gd name="connsiteY8" fmla="*/ 0 h 4464050"/>
              <a:gd name="connsiteX0" fmla="*/ 333005 w 4108451"/>
              <a:gd name="connsiteY0" fmla="*/ 0 h 4467009"/>
              <a:gd name="connsiteX1" fmla="*/ 4042792 w 4108451"/>
              <a:gd name="connsiteY1" fmla="*/ 0 h 4467009"/>
              <a:gd name="connsiteX2" fmla="*/ 4042792 w 4108451"/>
              <a:gd name="connsiteY2" fmla="*/ 0 h 4467009"/>
              <a:gd name="connsiteX3" fmla="*/ 4042792 w 4108451"/>
              <a:gd name="connsiteY3" fmla="*/ 4131045 h 4467009"/>
              <a:gd name="connsiteX4" fmla="*/ 4020505 w 4108451"/>
              <a:gd name="connsiteY4" fmla="*/ 4467009 h 4467009"/>
              <a:gd name="connsiteX5" fmla="*/ 0 w 4108451"/>
              <a:gd name="connsiteY5" fmla="*/ 4464050 h 4467009"/>
              <a:gd name="connsiteX6" fmla="*/ 0 w 4108451"/>
              <a:gd name="connsiteY6" fmla="*/ 4464050 h 4467009"/>
              <a:gd name="connsiteX7" fmla="*/ 0 w 4108451"/>
              <a:gd name="connsiteY7" fmla="*/ 333005 h 4467009"/>
              <a:gd name="connsiteX8" fmla="*/ 333005 w 4108451"/>
              <a:gd name="connsiteY8" fmla="*/ 0 h 4467009"/>
              <a:gd name="connsiteX0" fmla="*/ 333005 w 4114749"/>
              <a:gd name="connsiteY0" fmla="*/ 0 h 4467009"/>
              <a:gd name="connsiteX1" fmla="*/ 4042792 w 4114749"/>
              <a:gd name="connsiteY1" fmla="*/ 0 h 4467009"/>
              <a:gd name="connsiteX2" fmla="*/ 4042792 w 4114749"/>
              <a:gd name="connsiteY2" fmla="*/ 0 h 4467009"/>
              <a:gd name="connsiteX3" fmla="*/ 4042792 w 4114749"/>
              <a:gd name="connsiteY3" fmla="*/ 4131045 h 4467009"/>
              <a:gd name="connsiteX4" fmla="*/ 4029382 w 4114749"/>
              <a:gd name="connsiteY4" fmla="*/ 4467009 h 4467009"/>
              <a:gd name="connsiteX5" fmla="*/ 0 w 4114749"/>
              <a:gd name="connsiteY5" fmla="*/ 4464050 h 4467009"/>
              <a:gd name="connsiteX6" fmla="*/ 0 w 4114749"/>
              <a:gd name="connsiteY6" fmla="*/ 4464050 h 4467009"/>
              <a:gd name="connsiteX7" fmla="*/ 0 w 4114749"/>
              <a:gd name="connsiteY7" fmla="*/ 333005 h 4467009"/>
              <a:gd name="connsiteX8" fmla="*/ 333005 w 4114749"/>
              <a:gd name="connsiteY8" fmla="*/ 0 h 4467009"/>
              <a:gd name="connsiteX0" fmla="*/ 333005 w 4042792"/>
              <a:gd name="connsiteY0" fmla="*/ 0 h 4467009"/>
              <a:gd name="connsiteX1" fmla="*/ 4042792 w 4042792"/>
              <a:gd name="connsiteY1" fmla="*/ 0 h 4467009"/>
              <a:gd name="connsiteX2" fmla="*/ 4042792 w 4042792"/>
              <a:gd name="connsiteY2" fmla="*/ 0 h 4467009"/>
              <a:gd name="connsiteX3" fmla="*/ 4042792 w 4042792"/>
              <a:gd name="connsiteY3" fmla="*/ 4131045 h 4467009"/>
              <a:gd name="connsiteX4" fmla="*/ 4029382 w 4042792"/>
              <a:gd name="connsiteY4" fmla="*/ 4467009 h 4467009"/>
              <a:gd name="connsiteX5" fmla="*/ 0 w 4042792"/>
              <a:gd name="connsiteY5" fmla="*/ 4464050 h 4467009"/>
              <a:gd name="connsiteX6" fmla="*/ 0 w 4042792"/>
              <a:gd name="connsiteY6" fmla="*/ 4464050 h 4467009"/>
              <a:gd name="connsiteX7" fmla="*/ 0 w 4042792"/>
              <a:gd name="connsiteY7" fmla="*/ 333005 h 4467009"/>
              <a:gd name="connsiteX8" fmla="*/ 333005 w 4042792"/>
              <a:gd name="connsiteY8" fmla="*/ 0 h 4467009"/>
              <a:gd name="connsiteX0" fmla="*/ 333005 w 4042792"/>
              <a:gd name="connsiteY0" fmla="*/ 0 h 4467009"/>
              <a:gd name="connsiteX1" fmla="*/ 4042792 w 4042792"/>
              <a:gd name="connsiteY1" fmla="*/ 0 h 4467009"/>
              <a:gd name="connsiteX2" fmla="*/ 4042792 w 4042792"/>
              <a:gd name="connsiteY2" fmla="*/ 0 h 4467009"/>
              <a:gd name="connsiteX3" fmla="*/ 4042792 w 4042792"/>
              <a:gd name="connsiteY3" fmla="*/ 4131045 h 4467009"/>
              <a:gd name="connsiteX4" fmla="*/ 4038260 w 4042792"/>
              <a:gd name="connsiteY4" fmla="*/ 4467009 h 4467009"/>
              <a:gd name="connsiteX5" fmla="*/ 0 w 4042792"/>
              <a:gd name="connsiteY5" fmla="*/ 4464050 h 4467009"/>
              <a:gd name="connsiteX6" fmla="*/ 0 w 4042792"/>
              <a:gd name="connsiteY6" fmla="*/ 4464050 h 4467009"/>
              <a:gd name="connsiteX7" fmla="*/ 0 w 4042792"/>
              <a:gd name="connsiteY7" fmla="*/ 333005 h 4467009"/>
              <a:gd name="connsiteX8" fmla="*/ 333005 w 4042792"/>
              <a:gd name="connsiteY8" fmla="*/ 0 h 4467009"/>
              <a:gd name="connsiteX0" fmla="*/ 333005 w 4042792"/>
              <a:gd name="connsiteY0" fmla="*/ 0 h 4467009"/>
              <a:gd name="connsiteX1" fmla="*/ 4042792 w 4042792"/>
              <a:gd name="connsiteY1" fmla="*/ 0 h 4467009"/>
              <a:gd name="connsiteX2" fmla="*/ 4042792 w 4042792"/>
              <a:gd name="connsiteY2" fmla="*/ 0 h 4467009"/>
              <a:gd name="connsiteX3" fmla="*/ 4038260 w 4042792"/>
              <a:gd name="connsiteY3" fmla="*/ 4467009 h 4467009"/>
              <a:gd name="connsiteX4" fmla="*/ 0 w 4042792"/>
              <a:gd name="connsiteY4" fmla="*/ 4464050 h 4467009"/>
              <a:gd name="connsiteX5" fmla="*/ 0 w 4042792"/>
              <a:gd name="connsiteY5" fmla="*/ 4464050 h 4467009"/>
              <a:gd name="connsiteX6" fmla="*/ 0 w 4042792"/>
              <a:gd name="connsiteY6" fmla="*/ 333005 h 4467009"/>
              <a:gd name="connsiteX7" fmla="*/ 333005 w 4042792"/>
              <a:gd name="connsiteY7" fmla="*/ 0 h 4467009"/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38260 w 4042792"/>
              <a:gd name="connsiteY3" fmla="*/ 2152340 h 4464050"/>
              <a:gd name="connsiteX4" fmla="*/ 0 w 4042792"/>
              <a:gd name="connsiteY4" fmla="*/ 4464050 h 4464050"/>
              <a:gd name="connsiteX5" fmla="*/ 0 w 4042792"/>
              <a:gd name="connsiteY5" fmla="*/ 4464050 h 4464050"/>
              <a:gd name="connsiteX6" fmla="*/ 0 w 4042792"/>
              <a:gd name="connsiteY6" fmla="*/ 333005 h 4464050"/>
              <a:gd name="connsiteX7" fmla="*/ 333005 w 4042792"/>
              <a:gd name="connsiteY7" fmla="*/ 0 h 4464050"/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38260 w 4042792"/>
              <a:gd name="connsiteY3" fmla="*/ 2152340 h 4464050"/>
              <a:gd name="connsiteX4" fmla="*/ 0 w 4042792"/>
              <a:gd name="connsiteY4" fmla="*/ 4464050 h 4464050"/>
              <a:gd name="connsiteX5" fmla="*/ 0 w 4042792"/>
              <a:gd name="connsiteY5" fmla="*/ 2158435 h 4464050"/>
              <a:gd name="connsiteX6" fmla="*/ 0 w 4042792"/>
              <a:gd name="connsiteY6" fmla="*/ 333005 h 4464050"/>
              <a:gd name="connsiteX7" fmla="*/ 333005 w 4042792"/>
              <a:gd name="connsiteY7" fmla="*/ 0 h 4464050"/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38260 w 4042792"/>
              <a:gd name="connsiteY3" fmla="*/ 2152340 h 4464050"/>
              <a:gd name="connsiteX4" fmla="*/ 0 w 4042792"/>
              <a:gd name="connsiteY4" fmla="*/ 4464050 h 4464050"/>
              <a:gd name="connsiteX5" fmla="*/ 0 w 4042792"/>
              <a:gd name="connsiteY5" fmla="*/ 333005 h 4464050"/>
              <a:gd name="connsiteX6" fmla="*/ 333005 w 4042792"/>
              <a:gd name="connsiteY6" fmla="*/ 0 h 4464050"/>
              <a:gd name="connsiteX0" fmla="*/ 333005 w 4042792"/>
              <a:gd name="connsiteY0" fmla="*/ 0 h 2152399"/>
              <a:gd name="connsiteX1" fmla="*/ 4042792 w 4042792"/>
              <a:gd name="connsiteY1" fmla="*/ 0 h 2152399"/>
              <a:gd name="connsiteX2" fmla="*/ 4042792 w 4042792"/>
              <a:gd name="connsiteY2" fmla="*/ 0 h 2152399"/>
              <a:gd name="connsiteX3" fmla="*/ 4038260 w 4042792"/>
              <a:gd name="connsiteY3" fmla="*/ 2152340 h 2152399"/>
              <a:gd name="connsiteX4" fmla="*/ 0 w 4042792"/>
              <a:gd name="connsiteY4" fmla="*/ 2152399 h 2152399"/>
              <a:gd name="connsiteX5" fmla="*/ 0 w 4042792"/>
              <a:gd name="connsiteY5" fmla="*/ 333005 h 2152399"/>
              <a:gd name="connsiteX6" fmla="*/ 333005 w 4042792"/>
              <a:gd name="connsiteY6" fmla="*/ 0 h 2152399"/>
              <a:gd name="connsiteX0" fmla="*/ 333005 w 4042792"/>
              <a:gd name="connsiteY0" fmla="*/ 0 h 2152399"/>
              <a:gd name="connsiteX1" fmla="*/ 4042792 w 4042792"/>
              <a:gd name="connsiteY1" fmla="*/ 0 h 2152399"/>
              <a:gd name="connsiteX2" fmla="*/ 2227763 w 4042792"/>
              <a:gd name="connsiteY2" fmla="*/ 0 h 2152399"/>
              <a:gd name="connsiteX3" fmla="*/ 4038260 w 4042792"/>
              <a:gd name="connsiteY3" fmla="*/ 2152340 h 2152399"/>
              <a:gd name="connsiteX4" fmla="*/ 0 w 4042792"/>
              <a:gd name="connsiteY4" fmla="*/ 2152399 h 2152399"/>
              <a:gd name="connsiteX5" fmla="*/ 0 w 4042792"/>
              <a:gd name="connsiteY5" fmla="*/ 333005 h 2152399"/>
              <a:gd name="connsiteX6" fmla="*/ 333005 w 4042792"/>
              <a:gd name="connsiteY6" fmla="*/ 0 h 2152399"/>
              <a:gd name="connsiteX0" fmla="*/ 333005 w 4038260"/>
              <a:gd name="connsiteY0" fmla="*/ 0 h 2152399"/>
              <a:gd name="connsiteX1" fmla="*/ 2227763 w 4038260"/>
              <a:gd name="connsiteY1" fmla="*/ 0 h 2152399"/>
              <a:gd name="connsiteX2" fmla="*/ 4038260 w 4038260"/>
              <a:gd name="connsiteY2" fmla="*/ 2152340 h 2152399"/>
              <a:gd name="connsiteX3" fmla="*/ 0 w 4038260"/>
              <a:gd name="connsiteY3" fmla="*/ 2152399 h 2152399"/>
              <a:gd name="connsiteX4" fmla="*/ 0 w 4038260"/>
              <a:gd name="connsiteY4" fmla="*/ 333005 h 2152399"/>
              <a:gd name="connsiteX5" fmla="*/ 333005 w 4038260"/>
              <a:gd name="connsiteY5" fmla="*/ 0 h 2152399"/>
              <a:gd name="connsiteX0" fmla="*/ 333005 w 2229086"/>
              <a:gd name="connsiteY0" fmla="*/ 0 h 2152399"/>
              <a:gd name="connsiteX1" fmla="*/ 2227763 w 2229086"/>
              <a:gd name="connsiteY1" fmla="*/ 0 h 2152399"/>
              <a:gd name="connsiteX2" fmla="*/ 2228739 w 2229086"/>
              <a:gd name="connsiteY2" fmla="*/ 2152340 h 2152399"/>
              <a:gd name="connsiteX3" fmla="*/ 0 w 2229086"/>
              <a:gd name="connsiteY3" fmla="*/ 2152399 h 2152399"/>
              <a:gd name="connsiteX4" fmla="*/ 0 w 2229086"/>
              <a:gd name="connsiteY4" fmla="*/ 333005 h 2152399"/>
              <a:gd name="connsiteX5" fmla="*/ 333005 w 2229086"/>
              <a:gd name="connsiteY5" fmla="*/ 0 h 2152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29086" h="2152399">
                <a:moveTo>
                  <a:pt x="333005" y="0"/>
                </a:moveTo>
                <a:lnTo>
                  <a:pt x="2227763" y="0"/>
                </a:lnTo>
                <a:cubicBezTo>
                  <a:pt x="2226252" y="1489003"/>
                  <a:pt x="2230250" y="663337"/>
                  <a:pt x="2228739" y="2152340"/>
                </a:cubicBezTo>
                <a:lnTo>
                  <a:pt x="0" y="2152399"/>
                </a:lnTo>
                <a:lnTo>
                  <a:pt x="0" y="333005"/>
                </a:lnTo>
                <a:cubicBezTo>
                  <a:pt x="0" y="149091"/>
                  <a:pt x="149091" y="0"/>
                  <a:pt x="33300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9481930" y="3853900"/>
            <a:ext cx="2241535" cy="2167488"/>
          </a:xfrm>
          <a:custGeom>
            <a:avLst/>
            <a:gdLst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42792 w 4042792"/>
              <a:gd name="connsiteY3" fmla="*/ 4131045 h 4464050"/>
              <a:gd name="connsiteX4" fmla="*/ 3709787 w 4042792"/>
              <a:gd name="connsiteY4" fmla="*/ 4464050 h 4464050"/>
              <a:gd name="connsiteX5" fmla="*/ 0 w 4042792"/>
              <a:gd name="connsiteY5" fmla="*/ 4464050 h 4464050"/>
              <a:gd name="connsiteX6" fmla="*/ 0 w 4042792"/>
              <a:gd name="connsiteY6" fmla="*/ 4464050 h 4464050"/>
              <a:gd name="connsiteX7" fmla="*/ 0 w 4042792"/>
              <a:gd name="connsiteY7" fmla="*/ 333005 h 4464050"/>
              <a:gd name="connsiteX8" fmla="*/ 333005 w 4042792"/>
              <a:gd name="connsiteY8" fmla="*/ 0 h 4464050"/>
              <a:gd name="connsiteX0" fmla="*/ 81714 w 4124604"/>
              <a:gd name="connsiteY0" fmla="*/ 0 h 4464050"/>
              <a:gd name="connsiteX1" fmla="*/ 4124604 w 4124604"/>
              <a:gd name="connsiteY1" fmla="*/ 0 h 4464050"/>
              <a:gd name="connsiteX2" fmla="*/ 4124604 w 4124604"/>
              <a:gd name="connsiteY2" fmla="*/ 0 h 4464050"/>
              <a:gd name="connsiteX3" fmla="*/ 4124604 w 4124604"/>
              <a:gd name="connsiteY3" fmla="*/ 4131045 h 4464050"/>
              <a:gd name="connsiteX4" fmla="*/ 3791599 w 4124604"/>
              <a:gd name="connsiteY4" fmla="*/ 4464050 h 4464050"/>
              <a:gd name="connsiteX5" fmla="*/ 81812 w 4124604"/>
              <a:gd name="connsiteY5" fmla="*/ 4464050 h 4464050"/>
              <a:gd name="connsiteX6" fmla="*/ 81812 w 4124604"/>
              <a:gd name="connsiteY6" fmla="*/ 4464050 h 4464050"/>
              <a:gd name="connsiteX7" fmla="*/ 81812 w 4124604"/>
              <a:gd name="connsiteY7" fmla="*/ 333005 h 4464050"/>
              <a:gd name="connsiteX8" fmla="*/ 81714 w 4124604"/>
              <a:gd name="connsiteY8" fmla="*/ 0 h 4464050"/>
              <a:gd name="connsiteX0" fmla="*/ 436 w 4043326"/>
              <a:gd name="connsiteY0" fmla="*/ 0 h 4464050"/>
              <a:gd name="connsiteX1" fmla="*/ 4043326 w 4043326"/>
              <a:gd name="connsiteY1" fmla="*/ 0 h 4464050"/>
              <a:gd name="connsiteX2" fmla="*/ 4043326 w 4043326"/>
              <a:gd name="connsiteY2" fmla="*/ 0 h 4464050"/>
              <a:gd name="connsiteX3" fmla="*/ 4043326 w 4043326"/>
              <a:gd name="connsiteY3" fmla="*/ 4131045 h 4464050"/>
              <a:gd name="connsiteX4" fmla="*/ 3710321 w 4043326"/>
              <a:gd name="connsiteY4" fmla="*/ 4464050 h 4464050"/>
              <a:gd name="connsiteX5" fmla="*/ 534 w 4043326"/>
              <a:gd name="connsiteY5" fmla="*/ 4464050 h 4464050"/>
              <a:gd name="connsiteX6" fmla="*/ 534 w 4043326"/>
              <a:gd name="connsiteY6" fmla="*/ 4464050 h 4464050"/>
              <a:gd name="connsiteX7" fmla="*/ 534 w 4043326"/>
              <a:gd name="connsiteY7" fmla="*/ 333005 h 4464050"/>
              <a:gd name="connsiteX8" fmla="*/ 436 w 4043326"/>
              <a:gd name="connsiteY8" fmla="*/ 0 h 4464050"/>
              <a:gd name="connsiteX0" fmla="*/ 0 w 4042890"/>
              <a:gd name="connsiteY0" fmla="*/ 0 h 4464050"/>
              <a:gd name="connsiteX1" fmla="*/ 4042890 w 4042890"/>
              <a:gd name="connsiteY1" fmla="*/ 0 h 4464050"/>
              <a:gd name="connsiteX2" fmla="*/ 4042890 w 4042890"/>
              <a:gd name="connsiteY2" fmla="*/ 0 h 4464050"/>
              <a:gd name="connsiteX3" fmla="*/ 4042890 w 4042890"/>
              <a:gd name="connsiteY3" fmla="*/ 4131045 h 4464050"/>
              <a:gd name="connsiteX4" fmla="*/ 3709885 w 4042890"/>
              <a:gd name="connsiteY4" fmla="*/ 4464050 h 4464050"/>
              <a:gd name="connsiteX5" fmla="*/ 98 w 4042890"/>
              <a:gd name="connsiteY5" fmla="*/ 4464050 h 4464050"/>
              <a:gd name="connsiteX6" fmla="*/ 98 w 4042890"/>
              <a:gd name="connsiteY6" fmla="*/ 4464050 h 4464050"/>
              <a:gd name="connsiteX7" fmla="*/ 0 w 4042890"/>
              <a:gd name="connsiteY7" fmla="*/ 0 h 4464050"/>
              <a:gd name="connsiteX0" fmla="*/ 0 w 4042890"/>
              <a:gd name="connsiteY0" fmla="*/ 2296562 h 4464050"/>
              <a:gd name="connsiteX1" fmla="*/ 4042890 w 4042890"/>
              <a:gd name="connsiteY1" fmla="*/ 0 h 4464050"/>
              <a:gd name="connsiteX2" fmla="*/ 4042890 w 4042890"/>
              <a:gd name="connsiteY2" fmla="*/ 0 h 4464050"/>
              <a:gd name="connsiteX3" fmla="*/ 4042890 w 4042890"/>
              <a:gd name="connsiteY3" fmla="*/ 4131045 h 4464050"/>
              <a:gd name="connsiteX4" fmla="*/ 3709885 w 4042890"/>
              <a:gd name="connsiteY4" fmla="*/ 4464050 h 4464050"/>
              <a:gd name="connsiteX5" fmla="*/ 98 w 4042890"/>
              <a:gd name="connsiteY5" fmla="*/ 4464050 h 4464050"/>
              <a:gd name="connsiteX6" fmla="*/ 98 w 4042890"/>
              <a:gd name="connsiteY6" fmla="*/ 4464050 h 4464050"/>
              <a:gd name="connsiteX7" fmla="*/ 0 w 4042890"/>
              <a:gd name="connsiteY7" fmla="*/ 2296562 h 4464050"/>
              <a:gd name="connsiteX0" fmla="*/ 0 w 4042890"/>
              <a:gd name="connsiteY0" fmla="*/ 2296562 h 4464050"/>
              <a:gd name="connsiteX1" fmla="*/ 4042890 w 4042890"/>
              <a:gd name="connsiteY1" fmla="*/ 0 h 4464050"/>
              <a:gd name="connsiteX2" fmla="*/ 4042890 w 4042890"/>
              <a:gd name="connsiteY2" fmla="*/ 2293544 h 4464050"/>
              <a:gd name="connsiteX3" fmla="*/ 4042890 w 4042890"/>
              <a:gd name="connsiteY3" fmla="*/ 4131045 h 4464050"/>
              <a:gd name="connsiteX4" fmla="*/ 3709885 w 4042890"/>
              <a:gd name="connsiteY4" fmla="*/ 4464050 h 4464050"/>
              <a:gd name="connsiteX5" fmla="*/ 98 w 4042890"/>
              <a:gd name="connsiteY5" fmla="*/ 4464050 h 4464050"/>
              <a:gd name="connsiteX6" fmla="*/ 98 w 4042890"/>
              <a:gd name="connsiteY6" fmla="*/ 4464050 h 4464050"/>
              <a:gd name="connsiteX7" fmla="*/ 0 w 4042890"/>
              <a:gd name="connsiteY7" fmla="*/ 2296562 h 4464050"/>
              <a:gd name="connsiteX0" fmla="*/ 0 w 4042890"/>
              <a:gd name="connsiteY0" fmla="*/ 2296562 h 4464050"/>
              <a:gd name="connsiteX1" fmla="*/ 4042890 w 4042890"/>
              <a:gd name="connsiteY1" fmla="*/ 0 h 4464050"/>
              <a:gd name="connsiteX2" fmla="*/ 4042890 w 4042890"/>
              <a:gd name="connsiteY2" fmla="*/ 4131045 h 4464050"/>
              <a:gd name="connsiteX3" fmla="*/ 3709885 w 4042890"/>
              <a:gd name="connsiteY3" fmla="*/ 4464050 h 4464050"/>
              <a:gd name="connsiteX4" fmla="*/ 98 w 4042890"/>
              <a:gd name="connsiteY4" fmla="*/ 4464050 h 4464050"/>
              <a:gd name="connsiteX5" fmla="*/ 98 w 4042890"/>
              <a:gd name="connsiteY5" fmla="*/ 4464050 h 4464050"/>
              <a:gd name="connsiteX6" fmla="*/ 0 w 4042890"/>
              <a:gd name="connsiteY6" fmla="*/ 2296562 h 4464050"/>
              <a:gd name="connsiteX0" fmla="*/ 0 w 4042890"/>
              <a:gd name="connsiteY0" fmla="*/ 0 h 2167488"/>
              <a:gd name="connsiteX1" fmla="*/ 4042890 w 4042890"/>
              <a:gd name="connsiteY1" fmla="*/ 3018 h 2167488"/>
              <a:gd name="connsiteX2" fmla="*/ 4042890 w 4042890"/>
              <a:gd name="connsiteY2" fmla="*/ 1834483 h 2167488"/>
              <a:gd name="connsiteX3" fmla="*/ 3709885 w 4042890"/>
              <a:gd name="connsiteY3" fmla="*/ 2167488 h 2167488"/>
              <a:gd name="connsiteX4" fmla="*/ 98 w 4042890"/>
              <a:gd name="connsiteY4" fmla="*/ 2167488 h 2167488"/>
              <a:gd name="connsiteX5" fmla="*/ 98 w 4042890"/>
              <a:gd name="connsiteY5" fmla="*/ 2167488 h 2167488"/>
              <a:gd name="connsiteX6" fmla="*/ 0 w 4042890"/>
              <a:gd name="connsiteY6" fmla="*/ 0 h 2167488"/>
              <a:gd name="connsiteX0" fmla="*/ 0 w 4042890"/>
              <a:gd name="connsiteY0" fmla="*/ 0 h 2167488"/>
              <a:gd name="connsiteX1" fmla="*/ 4042890 w 4042890"/>
              <a:gd name="connsiteY1" fmla="*/ 3018 h 2167488"/>
              <a:gd name="connsiteX2" fmla="*/ 4042890 w 4042890"/>
              <a:gd name="connsiteY2" fmla="*/ 1834483 h 2167488"/>
              <a:gd name="connsiteX3" fmla="*/ 3709885 w 4042890"/>
              <a:gd name="connsiteY3" fmla="*/ 2167488 h 2167488"/>
              <a:gd name="connsiteX4" fmla="*/ 98 w 4042890"/>
              <a:gd name="connsiteY4" fmla="*/ 2167488 h 2167488"/>
              <a:gd name="connsiteX5" fmla="*/ 1801356 w 4042890"/>
              <a:gd name="connsiteY5" fmla="*/ 2167488 h 2167488"/>
              <a:gd name="connsiteX6" fmla="*/ 0 w 4042890"/>
              <a:gd name="connsiteY6" fmla="*/ 0 h 2167488"/>
              <a:gd name="connsiteX0" fmla="*/ 0 w 4042890"/>
              <a:gd name="connsiteY0" fmla="*/ 0 h 2167488"/>
              <a:gd name="connsiteX1" fmla="*/ 4042890 w 4042890"/>
              <a:gd name="connsiteY1" fmla="*/ 3018 h 2167488"/>
              <a:gd name="connsiteX2" fmla="*/ 4042890 w 4042890"/>
              <a:gd name="connsiteY2" fmla="*/ 1834483 h 2167488"/>
              <a:gd name="connsiteX3" fmla="*/ 3709885 w 4042890"/>
              <a:gd name="connsiteY3" fmla="*/ 2167488 h 2167488"/>
              <a:gd name="connsiteX4" fmla="*/ 1801356 w 4042890"/>
              <a:gd name="connsiteY4" fmla="*/ 2167488 h 2167488"/>
              <a:gd name="connsiteX5" fmla="*/ 0 w 4042890"/>
              <a:gd name="connsiteY5" fmla="*/ 0 h 2167488"/>
              <a:gd name="connsiteX0" fmla="*/ 0 w 2241633"/>
              <a:gd name="connsiteY0" fmla="*/ 0 h 2167488"/>
              <a:gd name="connsiteX1" fmla="*/ 2241633 w 2241633"/>
              <a:gd name="connsiteY1" fmla="*/ 3018 h 2167488"/>
              <a:gd name="connsiteX2" fmla="*/ 2241633 w 2241633"/>
              <a:gd name="connsiteY2" fmla="*/ 1834483 h 2167488"/>
              <a:gd name="connsiteX3" fmla="*/ 1908628 w 2241633"/>
              <a:gd name="connsiteY3" fmla="*/ 2167488 h 2167488"/>
              <a:gd name="connsiteX4" fmla="*/ 99 w 2241633"/>
              <a:gd name="connsiteY4" fmla="*/ 2167488 h 2167488"/>
              <a:gd name="connsiteX5" fmla="*/ 0 w 2241633"/>
              <a:gd name="connsiteY5" fmla="*/ 0 h 2167488"/>
              <a:gd name="connsiteX0" fmla="*/ 2656 w 2241535"/>
              <a:gd name="connsiteY0" fmla="*/ 0 h 2167488"/>
              <a:gd name="connsiteX1" fmla="*/ 2241535 w 2241535"/>
              <a:gd name="connsiteY1" fmla="*/ 3018 h 2167488"/>
              <a:gd name="connsiteX2" fmla="*/ 2241535 w 2241535"/>
              <a:gd name="connsiteY2" fmla="*/ 1834483 h 2167488"/>
              <a:gd name="connsiteX3" fmla="*/ 1908530 w 2241535"/>
              <a:gd name="connsiteY3" fmla="*/ 2167488 h 2167488"/>
              <a:gd name="connsiteX4" fmla="*/ 1 w 2241535"/>
              <a:gd name="connsiteY4" fmla="*/ 2167488 h 2167488"/>
              <a:gd name="connsiteX5" fmla="*/ 2656 w 2241535"/>
              <a:gd name="connsiteY5" fmla="*/ 0 h 216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1535" h="2167488">
                <a:moveTo>
                  <a:pt x="2656" y="0"/>
                </a:moveTo>
                <a:lnTo>
                  <a:pt x="2241535" y="3018"/>
                </a:lnTo>
                <a:lnTo>
                  <a:pt x="2241535" y="1834483"/>
                </a:lnTo>
                <a:cubicBezTo>
                  <a:pt x="2241535" y="2018397"/>
                  <a:pt x="2092444" y="2167488"/>
                  <a:pt x="1908530" y="2167488"/>
                </a:cubicBezTo>
                <a:lnTo>
                  <a:pt x="1" y="2167488"/>
                </a:lnTo>
                <a:cubicBezTo>
                  <a:pt x="-32" y="679471"/>
                  <a:pt x="2689" y="1488017"/>
                  <a:pt x="265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bg1"/>
              </a:buClr>
              <a:buFont typeface="Wingdings" panose="05000000000000000000" pitchFamily="2" charset="2"/>
              <a:buChar char=""/>
              <a:defRPr sz="2000">
                <a:solidFill>
                  <a:schemeClr val="bg1"/>
                </a:solidFill>
              </a:defRPr>
            </a:lvl1pPr>
            <a:lvl2pPr marL="357188" indent="-174625">
              <a:buClr>
                <a:schemeClr val="bg1"/>
              </a:buClr>
              <a:buFont typeface="Wingdings" panose="05000000000000000000" pitchFamily="2" charset="2"/>
              <a:buChar char=""/>
              <a:defRPr sz="1600">
                <a:solidFill>
                  <a:schemeClr val="bg1"/>
                </a:solidFill>
              </a:defRPr>
            </a:lvl2pPr>
            <a:lvl3pPr marL="539750" indent="-182563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marL="714375" indent="-174625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898525" indent="-18415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23206941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3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8856934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F179D-EE2D-464E-9E93-6A8C6E18B13B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5"/>
          </p:nvPr>
        </p:nvSpPr>
        <p:spPr>
          <a:xfrm>
            <a:off x="9482138" y="1558799"/>
            <a:ext cx="2229086" cy="2152399"/>
          </a:xfrm>
          <a:custGeom>
            <a:avLst/>
            <a:gdLst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42792 w 4042792"/>
              <a:gd name="connsiteY3" fmla="*/ 4131045 h 4464050"/>
              <a:gd name="connsiteX4" fmla="*/ 3709787 w 4042792"/>
              <a:gd name="connsiteY4" fmla="*/ 4464050 h 4464050"/>
              <a:gd name="connsiteX5" fmla="*/ 0 w 4042792"/>
              <a:gd name="connsiteY5" fmla="*/ 4464050 h 4464050"/>
              <a:gd name="connsiteX6" fmla="*/ 0 w 4042792"/>
              <a:gd name="connsiteY6" fmla="*/ 4464050 h 4464050"/>
              <a:gd name="connsiteX7" fmla="*/ 0 w 4042792"/>
              <a:gd name="connsiteY7" fmla="*/ 333005 h 4464050"/>
              <a:gd name="connsiteX8" fmla="*/ 333005 w 4042792"/>
              <a:gd name="connsiteY8" fmla="*/ 0 h 4464050"/>
              <a:gd name="connsiteX0" fmla="*/ 333005 w 4108451"/>
              <a:gd name="connsiteY0" fmla="*/ 0 h 4467009"/>
              <a:gd name="connsiteX1" fmla="*/ 4042792 w 4108451"/>
              <a:gd name="connsiteY1" fmla="*/ 0 h 4467009"/>
              <a:gd name="connsiteX2" fmla="*/ 4042792 w 4108451"/>
              <a:gd name="connsiteY2" fmla="*/ 0 h 4467009"/>
              <a:gd name="connsiteX3" fmla="*/ 4042792 w 4108451"/>
              <a:gd name="connsiteY3" fmla="*/ 4131045 h 4467009"/>
              <a:gd name="connsiteX4" fmla="*/ 4020505 w 4108451"/>
              <a:gd name="connsiteY4" fmla="*/ 4467009 h 4467009"/>
              <a:gd name="connsiteX5" fmla="*/ 0 w 4108451"/>
              <a:gd name="connsiteY5" fmla="*/ 4464050 h 4467009"/>
              <a:gd name="connsiteX6" fmla="*/ 0 w 4108451"/>
              <a:gd name="connsiteY6" fmla="*/ 4464050 h 4467009"/>
              <a:gd name="connsiteX7" fmla="*/ 0 w 4108451"/>
              <a:gd name="connsiteY7" fmla="*/ 333005 h 4467009"/>
              <a:gd name="connsiteX8" fmla="*/ 333005 w 4108451"/>
              <a:gd name="connsiteY8" fmla="*/ 0 h 4467009"/>
              <a:gd name="connsiteX0" fmla="*/ 333005 w 4114749"/>
              <a:gd name="connsiteY0" fmla="*/ 0 h 4467009"/>
              <a:gd name="connsiteX1" fmla="*/ 4042792 w 4114749"/>
              <a:gd name="connsiteY1" fmla="*/ 0 h 4467009"/>
              <a:gd name="connsiteX2" fmla="*/ 4042792 w 4114749"/>
              <a:gd name="connsiteY2" fmla="*/ 0 h 4467009"/>
              <a:gd name="connsiteX3" fmla="*/ 4042792 w 4114749"/>
              <a:gd name="connsiteY3" fmla="*/ 4131045 h 4467009"/>
              <a:gd name="connsiteX4" fmla="*/ 4029382 w 4114749"/>
              <a:gd name="connsiteY4" fmla="*/ 4467009 h 4467009"/>
              <a:gd name="connsiteX5" fmla="*/ 0 w 4114749"/>
              <a:gd name="connsiteY5" fmla="*/ 4464050 h 4467009"/>
              <a:gd name="connsiteX6" fmla="*/ 0 w 4114749"/>
              <a:gd name="connsiteY6" fmla="*/ 4464050 h 4467009"/>
              <a:gd name="connsiteX7" fmla="*/ 0 w 4114749"/>
              <a:gd name="connsiteY7" fmla="*/ 333005 h 4467009"/>
              <a:gd name="connsiteX8" fmla="*/ 333005 w 4114749"/>
              <a:gd name="connsiteY8" fmla="*/ 0 h 4467009"/>
              <a:gd name="connsiteX0" fmla="*/ 333005 w 4042792"/>
              <a:gd name="connsiteY0" fmla="*/ 0 h 4467009"/>
              <a:gd name="connsiteX1" fmla="*/ 4042792 w 4042792"/>
              <a:gd name="connsiteY1" fmla="*/ 0 h 4467009"/>
              <a:gd name="connsiteX2" fmla="*/ 4042792 w 4042792"/>
              <a:gd name="connsiteY2" fmla="*/ 0 h 4467009"/>
              <a:gd name="connsiteX3" fmla="*/ 4042792 w 4042792"/>
              <a:gd name="connsiteY3" fmla="*/ 4131045 h 4467009"/>
              <a:gd name="connsiteX4" fmla="*/ 4029382 w 4042792"/>
              <a:gd name="connsiteY4" fmla="*/ 4467009 h 4467009"/>
              <a:gd name="connsiteX5" fmla="*/ 0 w 4042792"/>
              <a:gd name="connsiteY5" fmla="*/ 4464050 h 4467009"/>
              <a:gd name="connsiteX6" fmla="*/ 0 w 4042792"/>
              <a:gd name="connsiteY6" fmla="*/ 4464050 h 4467009"/>
              <a:gd name="connsiteX7" fmla="*/ 0 w 4042792"/>
              <a:gd name="connsiteY7" fmla="*/ 333005 h 4467009"/>
              <a:gd name="connsiteX8" fmla="*/ 333005 w 4042792"/>
              <a:gd name="connsiteY8" fmla="*/ 0 h 4467009"/>
              <a:gd name="connsiteX0" fmla="*/ 333005 w 4042792"/>
              <a:gd name="connsiteY0" fmla="*/ 0 h 4467009"/>
              <a:gd name="connsiteX1" fmla="*/ 4042792 w 4042792"/>
              <a:gd name="connsiteY1" fmla="*/ 0 h 4467009"/>
              <a:gd name="connsiteX2" fmla="*/ 4042792 w 4042792"/>
              <a:gd name="connsiteY2" fmla="*/ 0 h 4467009"/>
              <a:gd name="connsiteX3" fmla="*/ 4042792 w 4042792"/>
              <a:gd name="connsiteY3" fmla="*/ 4131045 h 4467009"/>
              <a:gd name="connsiteX4" fmla="*/ 4038260 w 4042792"/>
              <a:gd name="connsiteY4" fmla="*/ 4467009 h 4467009"/>
              <a:gd name="connsiteX5" fmla="*/ 0 w 4042792"/>
              <a:gd name="connsiteY5" fmla="*/ 4464050 h 4467009"/>
              <a:gd name="connsiteX6" fmla="*/ 0 w 4042792"/>
              <a:gd name="connsiteY6" fmla="*/ 4464050 h 4467009"/>
              <a:gd name="connsiteX7" fmla="*/ 0 w 4042792"/>
              <a:gd name="connsiteY7" fmla="*/ 333005 h 4467009"/>
              <a:gd name="connsiteX8" fmla="*/ 333005 w 4042792"/>
              <a:gd name="connsiteY8" fmla="*/ 0 h 4467009"/>
              <a:gd name="connsiteX0" fmla="*/ 333005 w 4042792"/>
              <a:gd name="connsiteY0" fmla="*/ 0 h 4467009"/>
              <a:gd name="connsiteX1" fmla="*/ 4042792 w 4042792"/>
              <a:gd name="connsiteY1" fmla="*/ 0 h 4467009"/>
              <a:gd name="connsiteX2" fmla="*/ 4042792 w 4042792"/>
              <a:gd name="connsiteY2" fmla="*/ 0 h 4467009"/>
              <a:gd name="connsiteX3" fmla="*/ 4038260 w 4042792"/>
              <a:gd name="connsiteY3" fmla="*/ 4467009 h 4467009"/>
              <a:gd name="connsiteX4" fmla="*/ 0 w 4042792"/>
              <a:gd name="connsiteY4" fmla="*/ 4464050 h 4467009"/>
              <a:gd name="connsiteX5" fmla="*/ 0 w 4042792"/>
              <a:gd name="connsiteY5" fmla="*/ 4464050 h 4467009"/>
              <a:gd name="connsiteX6" fmla="*/ 0 w 4042792"/>
              <a:gd name="connsiteY6" fmla="*/ 333005 h 4467009"/>
              <a:gd name="connsiteX7" fmla="*/ 333005 w 4042792"/>
              <a:gd name="connsiteY7" fmla="*/ 0 h 4467009"/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38260 w 4042792"/>
              <a:gd name="connsiteY3" fmla="*/ 2152340 h 4464050"/>
              <a:gd name="connsiteX4" fmla="*/ 0 w 4042792"/>
              <a:gd name="connsiteY4" fmla="*/ 4464050 h 4464050"/>
              <a:gd name="connsiteX5" fmla="*/ 0 w 4042792"/>
              <a:gd name="connsiteY5" fmla="*/ 4464050 h 4464050"/>
              <a:gd name="connsiteX6" fmla="*/ 0 w 4042792"/>
              <a:gd name="connsiteY6" fmla="*/ 333005 h 4464050"/>
              <a:gd name="connsiteX7" fmla="*/ 333005 w 4042792"/>
              <a:gd name="connsiteY7" fmla="*/ 0 h 4464050"/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38260 w 4042792"/>
              <a:gd name="connsiteY3" fmla="*/ 2152340 h 4464050"/>
              <a:gd name="connsiteX4" fmla="*/ 0 w 4042792"/>
              <a:gd name="connsiteY4" fmla="*/ 4464050 h 4464050"/>
              <a:gd name="connsiteX5" fmla="*/ 0 w 4042792"/>
              <a:gd name="connsiteY5" fmla="*/ 2158435 h 4464050"/>
              <a:gd name="connsiteX6" fmla="*/ 0 w 4042792"/>
              <a:gd name="connsiteY6" fmla="*/ 333005 h 4464050"/>
              <a:gd name="connsiteX7" fmla="*/ 333005 w 4042792"/>
              <a:gd name="connsiteY7" fmla="*/ 0 h 4464050"/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38260 w 4042792"/>
              <a:gd name="connsiteY3" fmla="*/ 2152340 h 4464050"/>
              <a:gd name="connsiteX4" fmla="*/ 0 w 4042792"/>
              <a:gd name="connsiteY4" fmla="*/ 4464050 h 4464050"/>
              <a:gd name="connsiteX5" fmla="*/ 0 w 4042792"/>
              <a:gd name="connsiteY5" fmla="*/ 333005 h 4464050"/>
              <a:gd name="connsiteX6" fmla="*/ 333005 w 4042792"/>
              <a:gd name="connsiteY6" fmla="*/ 0 h 4464050"/>
              <a:gd name="connsiteX0" fmla="*/ 333005 w 4042792"/>
              <a:gd name="connsiteY0" fmla="*/ 0 h 2152399"/>
              <a:gd name="connsiteX1" fmla="*/ 4042792 w 4042792"/>
              <a:gd name="connsiteY1" fmla="*/ 0 h 2152399"/>
              <a:gd name="connsiteX2" fmla="*/ 4042792 w 4042792"/>
              <a:gd name="connsiteY2" fmla="*/ 0 h 2152399"/>
              <a:gd name="connsiteX3" fmla="*/ 4038260 w 4042792"/>
              <a:gd name="connsiteY3" fmla="*/ 2152340 h 2152399"/>
              <a:gd name="connsiteX4" fmla="*/ 0 w 4042792"/>
              <a:gd name="connsiteY4" fmla="*/ 2152399 h 2152399"/>
              <a:gd name="connsiteX5" fmla="*/ 0 w 4042792"/>
              <a:gd name="connsiteY5" fmla="*/ 333005 h 2152399"/>
              <a:gd name="connsiteX6" fmla="*/ 333005 w 4042792"/>
              <a:gd name="connsiteY6" fmla="*/ 0 h 2152399"/>
              <a:gd name="connsiteX0" fmla="*/ 333005 w 4042792"/>
              <a:gd name="connsiteY0" fmla="*/ 0 h 2152399"/>
              <a:gd name="connsiteX1" fmla="*/ 4042792 w 4042792"/>
              <a:gd name="connsiteY1" fmla="*/ 0 h 2152399"/>
              <a:gd name="connsiteX2" fmla="*/ 2227763 w 4042792"/>
              <a:gd name="connsiteY2" fmla="*/ 0 h 2152399"/>
              <a:gd name="connsiteX3" fmla="*/ 4038260 w 4042792"/>
              <a:gd name="connsiteY3" fmla="*/ 2152340 h 2152399"/>
              <a:gd name="connsiteX4" fmla="*/ 0 w 4042792"/>
              <a:gd name="connsiteY4" fmla="*/ 2152399 h 2152399"/>
              <a:gd name="connsiteX5" fmla="*/ 0 w 4042792"/>
              <a:gd name="connsiteY5" fmla="*/ 333005 h 2152399"/>
              <a:gd name="connsiteX6" fmla="*/ 333005 w 4042792"/>
              <a:gd name="connsiteY6" fmla="*/ 0 h 2152399"/>
              <a:gd name="connsiteX0" fmla="*/ 333005 w 4038260"/>
              <a:gd name="connsiteY0" fmla="*/ 0 h 2152399"/>
              <a:gd name="connsiteX1" fmla="*/ 2227763 w 4038260"/>
              <a:gd name="connsiteY1" fmla="*/ 0 h 2152399"/>
              <a:gd name="connsiteX2" fmla="*/ 4038260 w 4038260"/>
              <a:gd name="connsiteY2" fmla="*/ 2152340 h 2152399"/>
              <a:gd name="connsiteX3" fmla="*/ 0 w 4038260"/>
              <a:gd name="connsiteY3" fmla="*/ 2152399 h 2152399"/>
              <a:gd name="connsiteX4" fmla="*/ 0 w 4038260"/>
              <a:gd name="connsiteY4" fmla="*/ 333005 h 2152399"/>
              <a:gd name="connsiteX5" fmla="*/ 333005 w 4038260"/>
              <a:gd name="connsiteY5" fmla="*/ 0 h 2152399"/>
              <a:gd name="connsiteX0" fmla="*/ 333005 w 2229086"/>
              <a:gd name="connsiteY0" fmla="*/ 0 h 2152399"/>
              <a:gd name="connsiteX1" fmla="*/ 2227763 w 2229086"/>
              <a:gd name="connsiteY1" fmla="*/ 0 h 2152399"/>
              <a:gd name="connsiteX2" fmla="*/ 2228739 w 2229086"/>
              <a:gd name="connsiteY2" fmla="*/ 2152340 h 2152399"/>
              <a:gd name="connsiteX3" fmla="*/ 0 w 2229086"/>
              <a:gd name="connsiteY3" fmla="*/ 2152399 h 2152399"/>
              <a:gd name="connsiteX4" fmla="*/ 0 w 2229086"/>
              <a:gd name="connsiteY4" fmla="*/ 333005 h 2152399"/>
              <a:gd name="connsiteX5" fmla="*/ 333005 w 2229086"/>
              <a:gd name="connsiteY5" fmla="*/ 0 h 2152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29086" h="2152399">
                <a:moveTo>
                  <a:pt x="333005" y="0"/>
                </a:moveTo>
                <a:lnTo>
                  <a:pt x="2227763" y="0"/>
                </a:lnTo>
                <a:cubicBezTo>
                  <a:pt x="2226252" y="1489003"/>
                  <a:pt x="2230250" y="663337"/>
                  <a:pt x="2228739" y="2152340"/>
                </a:cubicBezTo>
                <a:lnTo>
                  <a:pt x="0" y="2152399"/>
                </a:lnTo>
                <a:lnTo>
                  <a:pt x="0" y="333005"/>
                </a:lnTo>
                <a:cubicBezTo>
                  <a:pt x="0" y="149091"/>
                  <a:pt x="149091" y="0"/>
                  <a:pt x="33300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9481930" y="3853900"/>
            <a:ext cx="2241535" cy="2167488"/>
          </a:xfrm>
          <a:custGeom>
            <a:avLst/>
            <a:gdLst>
              <a:gd name="connsiteX0" fmla="*/ 333005 w 4042792"/>
              <a:gd name="connsiteY0" fmla="*/ 0 h 4464050"/>
              <a:gd name="connsiteX1" fmla="*/ 4042792 w 4042792"/>
              <a:gd name="connsiteY1" fmla="*/ 0 h 4464050"/>
              <a:gd name="connsiteX2" fmla="*/ 4042792 w 4042792"/>
              <a:gd name="connsiteY2" fmla="*/ 0 h 4464050"/>
              <a:gd name="connsiteX3" fmla="*/ 4042792 w 4042792"/>
              <a:gd name="connsiteY3" fmla="*/ 4131045 h 4464050"/>
              <a:gd name="connsiteX4" fmla="*/ 3709787 w 4042792"/>
              <a:gd name="connsiteY4" fmla="*/ 4464050 h 4464050"/>
              <a:gd name="connsiteX5" fmla="*/ 0 w 4042792"/>
              <a:gd name="connsiteY5" fmla="*/ 4464050 h 4464050"/>
              <a:gd name="connsiteX6" fmla="*/ 0 w 4042792"/>
              <a:gd name="connsiteY6" fmla="*/ 4464050 h 4464050"/>
              <a:gd name="connsiteX7" fmla="*/ 0 w 4042792"/>
              <a:gd name="connsiteY7" fmla="*/ 333005 h 4464050"/>
              <a:gd name="connsiteX8" fmla="*/ 333005 w 4042792"/>
              <a:gd name="connsiteY8" fmla="*/ 0 h 4464050"/>
              <a:gd name="connsiteX0" fmla="*/ 81714 w 4124604"/>
              <a:gd name="connsiteY0" fmla="*/ 0 h 4464050"/>
              <a:gd name="connsiteX1" fmla="*/ 4124604 w 4124604"/>
              <a:gd name="connsiteY1" fmla="*/ 0 h 4464050"/>
              <a:gd name="connsiteX2" fmla="*/ 4124604 w 4124604"/>
              <a:gd name="connsiteY2" fmla="*/ 0 h 4464050"/>
              <a:gd name="connsiteX3" fmla="*/ 4124604 w 4124604"/>
              <a:gd name="connsiteY3" fmla="*/ 4131045 h 4464050"/>
              <a:gd name="connsiteX4" fmla="*/ 3791599 w 4124604"/>
              <a:gd name="connsiteY4" fmla="*/ 4464050 h 4464050"/>
              <a:gd name="connsiteX5" fmla="*/ 81812 w 4124604"/>
              <a:gd name="connsiteY5" fmla="*/ 4464050 h 4464050"/>
              <a:gd name="connsiteX6" fmla="*/ 81812 w 4124604"/>
              <a:gd name="connsiteY6" fmla="*/ 4464050 h 4464050"/>
              <a:gd name="connsiteX7" fmla="*/ 81812 w 4124604"/>
              <a:gd name="connsiteY7" fmla="*/ 333005 h 4464050"/>
              <a:gd name="connsiteX8" fmla="*/ 81714 w 4124604"/>
              <a:gd name="connsiteY8" fmla="*/ 0 h 4464050"/>
              <a:gd name="connsiteX0" fmla="*/ 436 w 4043326"/>
              <a:gd name="connsiteY0" fmla="*/ 0 h 4464050"/>
              <a:gd name="connsiteX1" fmla="*/ 4043326 w 4043326"/>
              <a:gd name="connsiteY1" fmla="*/ 0 h 4464050"/>
              <a:gd name="connsiteX2" fmla="*/ 4043326 w 4043326"/>
              <a:gd name="connsiteY2" fmla="*/ 0 h 4464050"/>
              <a:gd name="connsiteX3" fmla="*/ 4043326 w 4043326"/>
              <a:gd name="connsiteY3" fmla="*/ 4131045 h 4464050"/>
              <a:gd name="connsiteX4" fmla="*/ 3710321 w 4043326"/>
              <a:gd name="connsiteY4" fmla="*/ 4464050 h 4464050"/>
              <a:gd name="connsiteX5" fmla="*/ 534 w 4043326"/>
              <a:gd name="connsiteY5" fmla="*/ 4464050 h 4464050"/>
              <a:gd name="connsiteX6" fmla="*/ 534 w 4043326"/>
              <a:gd name="connsiteY6" fmla="*/ 4464050 h 4464050"/>
              <a:gd name="connsiteX7" fmla="*/ 534 w 4043326"/>
              <a:gd name="connsiteY7" fmla="*/ 333005 h 4464050"/>
              <a:gd name="connsiteX8" fmla="*/ 436 w 4043326"/>
              <a:gd name="connsiteY8" fmla="*/ 0 h 4464050"/>
              <a:gd name="connsiteX0" fmla="*/ 0 w 4042890"/>
              <a:gd name="connsiteY0" fmla="*/ 0 h 4464050"/>
              <a:gd name="connsiteX1" fmla="*/ 4042890 w 4042890"/>
              <a:gd name="connsiteY1" fmla="*/ 0 h 4464050"/>
              <a:gd name="connsiteX2" fmla="*/ 4042890 w 4042890"/>
              <a:gd name="connsiteY2" fmla="*/ 0 h 4464050"/>
              <a:gd name="connsiteX3" fmla="*/ 4042890 w 4042890"/>
              <a:gd name="connsiteY3" fmla="*/ 4131045 h 4464050"/>
              <a:gd name="connsiteX4" fmla="*/ 3709885 w 4042890"/>
              <a:gd name="connsiteY4" fmla="*/ 4464050 h 4464050"/>
              <a:gd name="connsiteX5" fmla="*/ 98 w 4042890"/>
              <a:gd name="connsiteY5" fmla="*/ 4464050 h 4464050"/>
              <a:gd name="connsiteX6" fmla="*/ 98 w 4042890"/>
              <a:gd name="connsiteY6" fmla="*/ 4464050 h 4464050"/>
              <a:gd name="connsiteX7" fmla="*/ 0 w 4042890"/>
              <a:gd name="connsiteY7" fmla="*/ 0 h 4464050"/>
              <a:gd name="connsiteX0" fmla="*/ 0 w 4042890"/>
              <a:gd name="connsiteY0" fmla="*/ 2296562 h 4464050"/>
              <a:gd name="connsiteX1" fmla="*/ 4042890 w 4042890"/>
              <a:gd name="connsiteY1" fmla="*/ 0 h 4464050"/>
              <a:gd name="connsiteX2" fmla="*/ 4042890 w 4042890"/>
              <a:gd name="connsiteY2" fmla="*/ 0 h 4464050"/>
              <a:gd name="connsiteX3" fmla="*/ 4042890 w 4042890"/>
              <a:gd name="connsiteY3" fmla="*/ 4131045 h 4464050"/>
              <a:gd name="connsiteX4" fmla="*/ 3709885 w 4042890"/>
              <a:gd name="connsiteY4" fmla="*/ 4464050 h 4464050"/>
              <a:gd name="connsiteX5" fmla="*/ 98 w 4042890"/>
              <a:gd name="connsiteY5" fmla="*/ 4464050 h 4464050"/>
              <a:gd name="connsiteX6" fmla="*/ 98 w 4042890"/>
              <a:gd name="connsiteY6" fmla="*/ 4464050 h 4464050"/>
              <a:gd name="connsiteX7" fmla="*/ 0 w 4042890"/>
              <a:gd name="connsiteY7" fmla="*/ 2296562 h 4464050"/>
              <a:gd name="connsiteX0" fmla="*/ 0 w 4042890"/>
              <a:gd name="connsiteY0" fmla="*/ 2296562 h 4464050"/>
              <a:gd name="connsiteX1" fmla="*/ 4042890 w 4042890"/>
              <a:gd name="connsiteY1" fmla="*/ 0 h 4464050"/>
              <a:gd name="connsiteX2" fmla="*/ 4042890 w 4042890"/>
              <a:gd name="connsiteY2" fmla="*/ 2293544 h 4464050"/>
              <a:gd name="connsiteX3" fmla="*/ 4042890 w 4042890"/>
              <a:gd name="connsiteY3" fmla="*/ 4131045 h 4464050"/>
              <a:gd name="connsiteX4" fmla="*/ 3709885 w 4042890"/>
              <a:gd name="connsiteY4" fmla="*/ 4464050 h 4464050"/>
              <a:gd name="connsiteX5" fmla="*/ 98 w 4042890"/>
              <a:gd name="connsiteY5" fmla="*/ 4464050 h 4464050"/>
              <a:gd name="connsiteX6" fmla="*/ 98 w 4042890"/>
              <a:gd name="connsiteY6" fmla="*/ 4464050 h 4464050"/>
              <a:gd name="connsiteX7" fmla="*/ 0 w 4042890"/>
              <a:gd name="connsiteY7" fmla="*/ 2296562 h 4464050"/>
              <a:gd name="connsiteX0" fmla="*/ 0 w 4042890"/>
              <a:gd name="connsiteY0" fmla="*/ 2296562 h 4464050"/>
              <a:gd name="connsiteX1" fmla="*/ 4042890 w 4042890"/>
              <a:gd name="connsiteY1" fmla="*/ 0 h 4464050"/>
              <a:gd name="connsiteX2" fmla="*/ 4042890 w 4042890"/>
              <a:gd name="connsiteY2" fmla="*/ 4131045 h 4464050"/>
              <a:gd name="connsiteX3" fmla="*/ 3709885 w 4042890"/>
              <a:gd name="connsiteY3" fmla="*/ 4464050 h 4464050"/>
              <a:gd name="connsiteX4" fmla="*/ 98 w 4042890"/>
              <a:gd name="connsiteY4" fmla="*/ 4464050 h 4464050"/>
              <a:gd name="connsiteX5" fmla="*/ 98 w 4042890"/>
              <a:gd name="connsiteY5" fmla="*/ 4464050 h 4464050"/>
              <a:gd name="connsiteX6" fmla="*/ 0 w 4042890"/>
              <a:gd name="connsiteY6" fmla="*/ 2296562 h 4464050"/>
              <a:gd name="connsiteX0" fmla="*/ 0 w 4042890"/>
              <a:gd name="connsiteY0" fmla="*/ 0 h 2167488"/>
              <a:gd name="connsiteX1" fmla="*/ 4042890 w 4042890"/>
              <a:gd name="connsiteY1" fmla="*/ 3018 h 2167488"/>
              <a:gd name="connsiteX2" fmla="*/ 4042890 w 4042890"/>
              <a:gd name="connsiteY2" fmla="*/ 1834483 h 2167488"/>
              <a:gd name="connsiteX3" fmla="*/ 3709885 w 4042890"/>
              <a:gd name="connsiteY3" fmla="*/ 2167488 h 2167488"/>
              <a:gd name="connsiteX4" fmla="*/ 98 w 4042890"/>
              <a:gd name="connsiteY4" fmla="*/ 2167488 h 2167488"/>
              <a:gd name="connsiteX5" fmla="*/ 98 w 4042890"/>
              <a:gd name="connsiteY5" fmla="*/ 2167488 h 2167488"/>
              <a:gd name="connsiteX6" fmla="*/ 0 w 4042890"/>
              <a:gd name="connsiteY6" fmla="*/ 0 h 2167488"/>
              <a:gd name="connsiteX0" fmla="*/ 0 w 4042890"/>
              <a:gd name="connsiteY0" fmla="*/ 0 h 2167488"/>
              <a:gd name="connsiteX1" fmla="*/ 4042890 w 4042890"/>
              <a:gd name="connsiteY1" fmla="*/ 3018 h 2167488"/>
              <a:gd name="connsiteX2" fmla="*/ 4042890 w 4042890"/>
              <a:gd name="connsiteY2" fmla="*/ 1834483 h 2167488"/>
              <a:gd name="connsiteX3" fmla="*/ 3709885 w 4042890"/>
              <a:gd name="connsiteY3" fmla="*/ 2167488 h 2167488"/>
              <a:gd name="connsiteX4" fmla="*/ 98 w 4042890"/>
              <a:gd name="connsiteY4" fmla="*/ 2167488 h 2167488"/>
              <a:gd name="connsiteX5" fmla="*/ 1801356 w 4042890"/>
              <a:gd name="connsiteY5" fmla="*/ 2167488 h 2167488"/>
              <a:gd name="connsiteX6" fmla="*/ 0 w 4042890"/>
              <a:gd name="connsiteY6" fmla="*/ 0 h 2167488"/>
              <a:gd name="connsiteX0" fmla="*/ 0 w 4042890"/>
              <a:gd name="connsiteY0" fmla="*/ 0 h 2167488"/>
              <a:gd name="connsiteX1" fmla="*/ 4042890 w 4042890"/>
              <a:gd name="connsiteY1" fmla="*/ 3018 h 2167488"/>
              <a:gd name="connsiteX2" fmla="*/ 4042890 w 4042890"/>
              <a:gd name="connsiteY2" fmla="*/ 1834483 h 2167488"/>
              <a:gd name="connsiteX3" fmla="*/ 3709885 w 4042890"/>
              <a:gd name="connsiteY3" fmla="*/ 2167488 h 2167488"/>
              <a:gd name="connsiteX4" fmla="*/ 1801356 w 4042890"/>
              <a:gd name="connsiteY4" fmla="*/ 2167488 h 2167488"/>
              <a:gd name="connsiteX5" fmla="*/ 0 w 4042890"/>
              <a:gd name="connsiteY5" fmla="*/ 0 h 2167488"/>
              <a:gd name="connsiteX0" fmla="*/ 0 w 2241633"/>
              <a:gd name="connsiteY0" fmla="*/ 0 h 2167488"/>
              <a:gd name="connsiteX1" fmla="*/ 2241633 w 2241633"/>
              <a:gd name="connsiteY1" fmla="*/ 3018 h 2167488"/>
              <a:gd name="connsiteX2" fmla="*/ 2241633 w 2241633"/>
              <a:gd name="connsiteY2" fmla="*/ 1834483 h 2167488"/>
              <a:gd name="connsiteX3" fmla="*/ 1908628 w 2241633"/>
              <a:gd name="connsiteY3" fmla="*/ 2167488 h 2167488"/>
              <a:gd name="connsiteX4" fmla="*/ 99 w 2241633"/>
              <a:gd name="connsiteY4" fmla="*/ 2167488 h 2167488"/>
              <a:gd name="connsiteX5" fmla="*/ 0 w 2241633"/>
              <a:gd name="connsiteY5" fmla="*/ 0 h 2167488"/>
              <a:gd name="connsiteX0" fmla="*/ 2656 w 2241535"/>
              <a:gd name="connsiteY0" fmla="*/ 0 h 2167488"/>
              <a:gd name="connsiteX1" fmla="*/ 2241535 w 2241535"/>
              <a:gd name="connsiteY1" fmla="*/ 3018 h 2167488"/>
              <a:gd name="connsiteX2" fmla="*/ 2241535 w 2241535"/>
              <a:gd name="connsiteY2" fmla="*/ 1834483 h 2167488"/>
              <a:gd name="connsiteX3" fmla="*/ 1908530 w 2241535"/>
              <a:gd name="connsiteY3" fmla="*/ 2167488 h 2167488"/>
              <a:gd name="connsiteX4" fmla="*/ 1 w 2241535"/>
              <a:gd name="connsiteY4" fmla="*/ 2167488 h 2167488"/>
              <a:gd name="connsiteX5" fmla="*/ 2656 w 2241535"/>
              <a:gd name="connsiteY5" fmla="*/ 0 h 216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1535" h="2167488">
                <a:moveTo>
                  <a:pt x="2656" y="0"/>
                </a:moveTo>
                <a:lnTo>
                  <a:pt x="2241535" y="3018"/>
                </a:lnTo>
                <a:lnTo>
                  <a:pt x="2241535" y="1834483"/>
                </a:lnTo>
                <a:cubicBezTo>
                  <a:pt x="2241535" y="2018397"/>
                  <a:pt x="2092444" y="2167488"/>
                  <a:pt x="1908530" y="2167488"/>
                </a:cubicBezTo>
                <a:lnTo>
                  <a:pt x="1" y="2167488"/>
                </a:lnTo>
                <a:cubicBezTo>
                  <a:pt x="-32" y="679471"/>
                  <a:pt x="2689" y="1488017"/>
                  <a:pt x="2656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bg1"/>
              </a:buClr>
              <a:buFont typeface="Wingdings" panose="05000000000000000000" pitchFamily="2" charset="2"/>
              <a:buChar char=""/>
              <a:defRPr sz="2000">
                <a:solidFill>
                  <a:schemeClr val="bg1"/>
                </a:solidFill>
              </a:defRPr>
            </a:lvl1pPr>
            <a:lvl2pPr marL="357188" indent="-174625">
              <a:buClr>
                <a:schemeClr val="bg1"/>
              </a:buClr>
              <a:buFont typeface="Wingdings" panose="05000000000000000000" pitchFamily="2" charset="2"/>
              <a:buChar char=""/>
              <a:defRPr sz="1600">
                <a:solidFill>
                  <a:schemeClr val="bg1"/>
                </a:solidFill>
              </a:defRPr>
            </a:lvl2pPr>
            <a:lvl3pPr marL="539750" indent="-182563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marL="714375" indent="-174625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898525" indent="-18415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4518626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77371-58C1-4966-BFA7-FF4DC7081D6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843522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5544566" cy="4468471"/>
          </a:xfrm>
          <a:prstGeom prst="round2DiagRect">
            <a:avLst>
              <a:gd name="adj1" fmla="val 8442"/>
              <a:gd name="adj2" fmla="val 0"/>
            </a:avLst>
          </a:prstGeom>
          <a:solidFill>
            <a:srgbClr val="50B948">
              <a:alpha val="40000"/>
            </a:srgbClr>
          </a:solidFill>
        </p:spPr>
        <p:txBody>
          <a:bodyPr lIns="90000" tIns="54000" rIns="90000" bIns="54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2"/>
          <p:cNvSpPr>
            <a:spLocks noGrp="1"/>
          </p:cNvSpPr>
          <p:nvPr>
            <p:ph sz="half" idx="15"/>
          </p:nvPr>
        </p:nvSpPr>
        <p:spPr>
          <a:xfrm>
            <a:off x="6169595" y="1557339"/>
            <a:ext cx="5544568" cy="4468471"/>
          </a:xfrm>
          <a:prstGeom prst="round2DiagRect">
            <a:avLst>
              <a:gd name="adj1" fmla="val 8442"/>
              <a:gd name="adj2" fmla="val 0"/>
            </a:avLst>
          </a:prstGeom>
          <a:solidFill>
            <a:srgbClr val="BDBDBD">
              <a:alpha val="30196"/>
            </a:srgbClr>
          </a:solidFill>
        </p:spPr>
        <p:txBody>
          <a:bodyPr lIns="90000" tIns="54000" rIns="90000" bIns="54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AD0C49-2EE4-489D-8420-AA755CD2C36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6087016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1013" y="1557339"/>
            <a:ext cx="6624686" cy="4464050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1CC7B-1085-4C5B-B4E0-DFADDDDF3B3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sz="half" idx="15"/>
          </p:nvPr>
        </p:nvSpPr>
        <p:spPr>
          <a:xfrm>
            <a:off x="7250113" y="1557339"/>
            <a:ext cx="4464050" cy="2153860"/>
          </a:xfrm>
          <a:custGeom>
            <a:avLst/>
            <a:gdLst>
              <a:gd name="connsiteX0" fmla="*/ 358740 w 4464050"/>
              <a:gd name="connsiteY0" fmla="*/ 0 h 2152399"/>
              <a:gd name="connsiteX1" fmla="*/ 4464050 w 4464050"/>
              <a:gd name="connsiteY1" fmla="*/ 0 h 2152399"/>
              <a:gd name="connsiteX2" fmla="*/ 4464050 w 4464050"/>
              <a:gd name="connsiteY2" fmla="*/ 0 h 2152399"/>
              <a:gd name="connsiteX3" fmla="*/ 4464050 w 4464050"/>
              <a:gd name="connsiteY3" fmla="*/ 1793659 h 2152399"/>
              <a:gd name="connsiteX4" fmla="*/ 4105310 w 4464050"/>
              <a:gd name="connsiteY4" fmla="*/ 2152399 h 2152399"/>
              <a:gd name="connsiteX5" fmla="*/ 0 w 4464050"/>
              <a:gd name="connsiteY5" fmla="*/ 2152399 h 2152399"/>
              <a:gd name="connsiteX6" fmla="*/ 0 w 4464050"/>
              <a:gd name="connsiteY6" fmla="*/ 2152399 h 2152399"/>
              <a:gd name="connsiteX7" fmla="*/ 0 w 4464050"/>
              <a:gd name="connsiteY7" fmla="*/ 358740 h 2152399"/>
              <a:gd name="connsiteX8" fmla="*/ 358740 w 4464050"/>
              <a:gd name="connsiteY8" fmla="*/ 0 h 2152399"/>
              <a:gd name="connsiteX0" fmla="*/ 358740 w 4544488"/>
              <a:gd name="connsiteY0" fmla="*/ 0 h 2152399"/>
              <a:gd name="connsiteX1" fmla="*/ 4464050 w 4544488"/>
              <a:gd name="connsiteY1" fmla="*/ 0 h 2152399"/>
              <a:gd name="connsiteX2" fmla="*/ 4464050 w 4544488"/>
              <a:gd name="connsiteY2" fmla="*/ 0 h 2152399"/>
              <a:gd name="connsiteX3" fmla="*/ 4464050 w 4544488"/>
              <a:gd name="connsiteY3" fmla="*/ 1793659 h 2152399"/>
              <a:gd name="connsiteX4" fmla="*/ 4453653 w 4544488"/>
              <a:gd name="connsiteY4" fmla="*/ 2152399 h 2152399"/>
              <a:gd name="connsiteX5" fmla="*/ 0 w 4544488"/>
              <a:gd name="connsiteY5" fmla="*/ 2152399 h 2152399"/>
              <a:gd name="connsiteX6" fmla="*/ 0 w 4544488"/>
              <a:gd name="connsiteY6" fmla="*/ 2152399 h 2152399"/>
              <a:gd name="connsiteX7" fmla="*/ 0 w 4544488"/>
              <a:gd name="connsiteY7" fmla="*/ 358740 h 2152399"/>
              <a:gd name="connsiteX8" fmla="*/ 358740 w 4544488"/>
              <a:gd name="connsiteY8" fmla="*/ 0 h 2152399"/>
              <a:gd name="connsiteX0" fmla="*/ 358740 w 4464050"/>
              <a:gd name="connsiteY0" fmla="*/ 0 h 2152399"/>
              <a:gd name="connsiteX1" fmla="*/ 4464050 w 4464050"/>
              <a:gd name="connsiteY1" fmla="*/ 0 h 2152399"/>
              <a:gd name="connsiteX2" fmla="*/ 4464050 w 4464050"/>
              <a:gd name="connsiteY2" fmla="*/ 0 h 2152399"/>
              <a:gd name="connsiteX3" fmla="*/ 4464050 w 4464050"/>
              <a:gd name="connsiteY3" fmla="*/ 1793659 h 2152399"/>
              <a:gd name="connsiteX4" fmla="*/ 4453653 w 4464050"/>
              <a:gd name="connsiteY4" fmla="*/ 2152399 h 2152399"/>
              <a:gd name="connsiteX5" fmla="*/ 0 w 4464050"/>
              <a:gd name="connsiteY5" fmla="*/ 2152399 h 2152399"/>
              <a:gd name="connsiteX6" fmla="*/ 0 w 4464050"/>
              <a:gd name="connsiteY6" fmla="*/ 2152399 h 2152399"/>
              <a:gd name="connsiteX7" fmla="*/ 0 w 4464050"/>
              <a:gd name="connsiteY7" fmla="*/ 358740 h 2152399"/>
              <a:gd name="connsiteX8" fmla="*/ 358740 w 4464050"/>
              <a:gd name="connsiteY8" fmla="*/ 0 h 2152399"/>
              <a:gd name="connsiteX0" fmla="*/ 358740 w 4468168"/>
              <a:gd name="connsiteY0" fmla="*/ 0 h 2152399"/>
              <a:gd name="connsiteX1" fmla="*/ 4464050 w 4468168"/>
              <a:gd name="connsiteY1" fmla="*/ 0 h 2152399"/>
              <a:gd name="connsiteX2" fmla="*/ 4464050 w 4468168"/>
              <a:gd name="connsiteY2" fmla="*/ 0 h 2152399"/>
              <a:gd name="connsiteX3" fmla="*/ 4464050 w 4468168"/>
              <a:gd name="connsiteY3" fmla="*/ 1793659 h 2152399"/>
              <a:gd name="connsiteX4" fmla="*/ 4468168 w 4468168"/>
              <a:gd name="connsiteY4" fmla="*/ 2152399 h 2152399"/>
              <a:gd name="connsiteX5" fmla="*/ 0 w 4468168"/>
              <a:gd name="connsiteY5" fmla="*/ 2152399 h 2152399"/>
              <a:gd name="connsiteX6" fmla="*/ 0 w 4468168"/>
              <a:gd name="connsiteY6" fmla="*/ 2152399 h 2152399"/>
              <a:gd name="connsiteX7" fmla="*/ 0 w 4468168"/>
              <a:gd name="connsiteY7" fmla="*/ 358740 h 2152399"/>
              <a:gd name="connsiteX8" fmla="*/ 358740 w 4468168"/>
              <a:gd name="connsiteY8" fmla="*/ 0 h 2152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8168" h="2152399">
                <a:moveTo>
                  <a:pt x="358740" y="0"/>
                </a:moveTo>
                <a:lnTo>
                  <a:pt x="4464050" y="0"/>
                </a:lnTo>
                <a:lnTo>
                  <a:pt x="4464050" y="0"/>
                </a:lnTo>
                <a:lnTo>
                  <a:pt x="4464050" y="1793659"/>
                </a:lnTo>
                <a:cubicBezTo>
                  <a:pt x="4464050" y="1991786"/>
                  <a:pt x="4463095" y="1858485"/>
                  <a:pt x="4468168" y="2152399"/>
                </a:cubicBezTo>
                <a:lnTo>
                  <a:pt x="0" y="2152399"/>
                </a:lnTo>
                <a:lnTo>
                  <a:pt x="0" y="2152399"/>
                </a:lnTo>
                <a:lnTo>
                  <a:pt x="0" y="358740"/>
                </a:lnTo>
                <a:cubicBezTo>
                  <a:pt x="0" y="160613"/>
                  <a:pt x="160613" y="0"/>
                  <a:pt x="358740" y="0"/>
                </a:cubicBezTo>
                <a:close/>
              </a:path>
            </a:pathLst>
          </a:custGeom>
          <a:solidFill>
            <a:srgbClr val="50B948">
              <a:alpha val="40000"/>
            </a:srgbClr>
          </a:solidFill>
        </p:spPr>
        <p:txBody>
          <a:bodyPr lIns="180000" tIns="162000" rIns="180000" bIns="162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7248511" y="3853900"/>
            <a:ext cx="4465652" cy="2167488"/>
          </a:xfrm>
          <a:custGeom>
            <a:avLst/>
            <a:gdLst>
              <a:gd name="connsiteX0" fmla="*/ 361255 w 4464050"/>
              <a:gd name="connsiteY0" fmla="*/ 0 h 2167488"/>
              <a:gd name="connsiteX1" fmla="*/ 4464050 w 4464050"/>
              <a:gd name="connsiteY1" fmla="*/ 0 h 2167488"/>
              <a:gd name="connsiteX2" fmla="*/ 4464050 w 4464050"/>
              <a:gd name="connsiteY2" fmla="*/ 0 h 2167488"/>
              <a:gd name="connsiteX3" fmla="*/ 4464050 w 4464050"/>
              <a:gd name="connsiteY3" fmla="*/ 1806233 h 2167488"/>
              <a:gd name="connsiteX4" fmla="*/ 4102795 w 4464050"/>
              <a:gd name="connsiteY4" fmla="*/ 2167488 h 2167488"/>
              <a:gd name="connsiteX5" fmla="*/ 0 w 4464050"/>
              <a:gd name="connsiteY5" fmla="*/ 2167488 h 2167488"/>
              <a:gd name="connsiteX6" fmla="*/ 0 w 4464050"/>
              <a:gd name="connsiteY6" fmla="*/ 2167488 h 2167488"/>
              <a:gd name="connsiteX7" fmla="*/ 0 w 4464050"/>
              <a:gd name="connsiteY7" fmla="*/ 361255 h 2167488"/>
              <a:gd name="connsiteX8" fmla="*/ 361255 w 4464050"/>
              <a:gd name="connsiteY8" fmla="*/ 0 h 2167488"/>
              <a:gd name="connsiteX0" fmla="*/ 90164 w 4548559"/>
              <a:gd name="connsiteY0" fmla="*/ 3629 h 2167488"/>
              <a:gd name="connsiteX1" fmla="*/ 4548559 w 4548559"/>
              <a:gd name="connsiteY1" fmla="*/ 0 h 2167488"/>
              <a:gd name="connsiteX2" fmla="*/ 4548559 w 4548559"/>
              <a:gd name="connsiteY2" fmla="*/ 0 h 2167488"/>
              <a:gd name="connsiteX3" fmla="*/ 4548559 w 4548559"/>
              <a:gd name="connsiteY3" fmla="*/ 1806233 h 2167488"/>
              <a:gd name="connsiteX4" fmla="*/ 4187304 w 4548559"/>
              <a:gd name="connsiteY4" fmla="*/ 2167488 h 2167488"/>
              <a:gd name="connsiteX5" fmla="*/ 84509 w 4548559"/>
              <a:gd name="connsiteY5" fmla="*/ 2167488 h 2167488"/>
              <a:gd name="connsiteX6" fmla="*/ 84509 w 4548559"/>
              <a:gd name="connsiteY6" fmla="*/ 2167488 h 2167488"/>
              <a:gd name="connsiteX7" fmla="*/ 84509 w 4548559"/>
              <a:gd name="connsiteY7" fmla="*/ 361255 h 2167488"/>
              <a:gd name="connsiteX8" fmla="*/ 90164 w 4548559"/>
              <a:gd name="connsiteY8" fmla="*/ 3629 h 2167488"/>
              <a:gd name="connsiteX0" fmla="*/ 5655 w 4464050"/>
              <a:gd name="connsiteY0" fmla="*/ 3629 h 2167488"/>
              <a:gd name="connsiteX1" fmla="*/ 4464050 w 4464050"/>
              <a:gd name="connsiteY1" fmla="*/ 0 h 2167488"/>
              <a:gd name="connsiteX2" fmla="*/ 4464050 w 4464050"/>
              <a:gd name="connsiteY2" fmla="*/ 0 h 2167488"/>
              <a:gd name="connsiteX3" fmla="*/ 4464050 w 4464050"/>
              <a:gd name="connsiteY3" fmla="*/ 1806233 h 2167488"/>
              <a:gd name="connsiteX4" fmla="*/ 4102795 w 4464050"/>
              <a:gd name="connsiteY4" fmla="*/ 2167488 h 2167488"/>
              <a:gd name="connsiteX5" fmla="*/ 0 w 4464050"/>
              <a:gd name="connsiteY5" fmla="*/ 2167488 h 2167488"/>
              <a:gd name="connsiteX6" fmla="*/ 0 w 4464050"/>
              <a:gd name="connsiteY6" fmla="*/ 2167488 h 2167488"/>
              <a:gd name="connsiteX7" fmla="*/ 0 w 4464050"/>
              <a:gd name="connsiteY7" fmla="*/ 361255 h 2167488"/>
              <a:gd name="connsiteX8" fmla="*/ 5655 w 4464050"/>
              <a:gd name="connsiteY8" fmla="*/ 3629 h 2167488"/>
              <a:gd name="connsiteX0" fmla="*/ 0 w 4465652"/>
              <a:gd name="connsiteY0" fmla="*/ 3629 h 2167488"/>
              <a:gd name="connsiteX1" fmla="*/ 4465652 w 4465652"/>
              <a:gd name="connsiteY1" fmla="*/ 0 h 2167488"/>
              <a:gd name="connsiteX2" fmla="*/ 4465652 w 4465652"/>
              <a:gd name="connsiteY2" fmla="*/ 0 h 2167488"/>
              <a:gd name="connsiteX3" fmla="*/ 4465652 w 4465652"/>
              <a:gd name="connsiteY3" fmla="*/ 1806233 h 2167488"/>
              <a:gd name="connsiteX4" fmla="*/ 4104397 w 4465652"/>
              <a:gd name="connsiteY4" fmla="*/ 2167488 h 2167488"/>
              <a:gd name="connsiteX5" fmla="*/ 1602 w 4465652"/>
              <a:gd name="connsiteY5" fmla="*/ 2167488 h 2167488"/>
              <a:gd name="connsiteX6" fmla="*/ 1602 w 4465652"/>
              <a:gd name="connsiteY6" fmla="*/ 2167488 h 2167488"/>
              <a:gd name="connsiteX7" fmla="*/ 1602 w 4465652"/>
              <a:gd name="connsiteY7" fmla="*/ 361255 h 2167488"/>
              <a:gd name="connsiteX8" fmla="*/ 0 w 4465652"/>
              <a:gd name="connsiteY8" fmla="*/ 3629 h 216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5652" h="2167488">
                <a:moveTo>
                  <a:pt x="0" y="3629"/>
                </a:moveTo>
                <a:lnTo>
                  <a:pt x="4465652" y="0"/>
                </a:lnTo>
                <a:lnTo>
                  <a:pt x="4465652" y="0"/>
                </a:lnTo>
                <a:lnTo>
                  <a:pt x="4465652" y="1806233"/>
                </a:lnTo>
                <a:cubicBezTo>
                  <a:pt x="4465652" y="2005749"/>
                  <a:pt x="4303913" y="2167488"/>
                  <a:pt x="4104397" y="2167488"/>
                </a:cubicBezTo>
                <a:lnTo>
                  <a:pt x="1602" y="2167488"/>
                </a:lnTo>
                <a:lnTo>
                  <a:pt x="1602" y="2167488"/>
                </a:lnTo>
                <a:lnTo>
                  <a:pt x="1602" y="361255"/>
                </a:lnTo>
                <a:cubicBezTo>
                  <a:pt x="1602" y="161739"/>
                  <a:pt x="55" y="141515"/>
                  <a:pt x="0" y="36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80000" tIns="162000" rIns="180000" bIns="162000"/>
          <a:lstStyle>
            <a:lvl1pPr marL="182563" indent="-182563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2000">
                <a:solidFill>
                  <a:schemeClr val="tx2">
                    <a:lumMod val="50000"/>
                  </a:schemeClr>
                </a:solidFill>
              </a:defRPr>
            </a:lvl1pPr>
            <a:lvl2pPr marL="357188" indent="-174625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"/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 marL="539750" indent="-182563">
              <a:buClr>
                <a:schemeClr val="tx2">
                  <a:lumMod val="50000"/>
                </a:schemeClr>
              </a:buCl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 marL="714375" indent="-174625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 marL="898525" indent="-184150">
              <a:buClr>
                <a:schemeClr val="tx2">
                  <a:lumMod val="50000"/>
                </a:schemeClr>
              </a:buCl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17378957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481013" y="1557338"/>
            <a:ext cx="5544566" cy="1511300"/>
          </a:xfrm>
          <a:custGeom>
            <a:avLst/>
            <a:gdLst/>
            <a:ahLst/>
            <a:cxnLst/>
            <a:rect l="l" t="t" r="r" b="b"/>
            <a:pathLst>
              <a:path w="5557266" h="1511300">
                <a:moveTo>
                  <a:pt x="311950" y="0"/>
                </a:moveTo>
                <a:lnTo>
                  <a:pt x="2100882" y="0"/>
                </a:lnTo>
                <a:lnTo>
                  <a:pt x="4032250" y="0"/>
                </a:lnTo>
                <a:lnTo>
                  <a:pt x="5557266" y="0"/>
                </a:lnTo>
                <a:lnTo>
                  <a:pt x="5557266" y="1511300"/>
                </a:lnTo>
                <a:lnTo>
                  <a:pt x="4032250" y="1511300"/>
                </a:lnTo>
                <a:lnTo>
                  <a:pt x="210088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6169621" y="1557338"/>
            <a:ext cx="5542432" cy="1511300"/>
          </a:xfrm>
          <a:custGeom>
            <a:avLst/>
            <a:gdLst/>
            <a:ahLst/>
            <a:cxnLst/>
            <a:rect l="l" t="t" r="r" b="b"/>
            <a:pathLst>
              <a:path w="5542432" h="1511300">
                <a:moveTo>
                  <a:pt x="0" y="0"/>
                </a:moveTo>
                <a:lnTo>
                  <a:pt x="1510182" y="0"/>
                </a:lnTo>
                <a:lnTo>
                  <a:pt x="3456384" y="0"/>
                </a:lnTo>
                <a:lnTo>
                  <a:pt x="5542432" y="0"/>
                </a:lnTo>
                <a:lnTo>
                  <a:pt x="5542432" y="1199350"/>
                </a:lnTo>
                <a:cubicBezTo>
                  <a:pt x="5542432" y="1371635"/>
                  <a:pt x="5402767" y="1511300"/>
                  <a:pt x="5230482" y="1511300"/>
                </a:cubicBezTo>
                <a:lnTo>
                  <a:pt x="3456384" y="1511300"/>
                </a:lnTo>
                <a:lnTo>
                  <a:pt x="151018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150B6E-226C-4B26-B2F5-E93ECF6174FB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22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7830" y="2772971"/>
            <a:ext cx="1041485" cy="295684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68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3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6169595" y="2772966"/>
            <a:ext cx="1041485" cy="295684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68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1"/>
          </p:nvPr>
        </p:nvSpPr>
        <p:spPr>
          <a:xfrm>
            <a:off x="481013" y="3140968"/>
            <a:ext cx="5544565" cy="2880420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 marL="714375" indent="-174625">
              <a:spcBef>
                <a:spcPts val="200"/>
              </a:spcBef>
              <a:defRPr sz="1000"/>
            </a:lvl4pPr>
            <a:lvl5pPr marL="898525" indent="-184150">
              <a:spcBef>
                <a:spcPts val="200"/>
              </a:spcBef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5" name="Content Placeholder 2"/>
          <p:cNvSpPr>
            <a:spLocks noGrp="1"/>
          </p:cNvSpPr>
          <p:nvPr>
            <p:ph sz="half" idx="25"/>
          </p:nvPr>
        </p:nvSpPr>
        <p:spPr>
          <a:xfrm>
            <a:off x="6169595" y="3140968"/>
            <a:ext cx="5544568" cy="2880420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 marL="714375" indent="-174625">
              <a:spcBef>
                <a:spcPts val="200"/>
              </a:spcBef>
              <a:defRPr sz="1000"/>
            </a:lvl4pPr>
            <a:lvl5pPr marL="898525" indent="-184150">
              <a:spcBef>
                <a:spcPts val="200"/>
              </a:spcBef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10532288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27DD9-EDD5-41B4-9CF3-BA9B7CC8EB4B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113811" y="1557338"/>
            <a:ext cx="3600352" cy="1511300"/>
          </a:xfrm>
          <a:custGeom>
            <a:avLst/>
            <a:gdLst/>
            <a:ahLst/>
            <a:cxnLst/>
            <a:rect l="l" t="t" r="r" b="b"/>
            <a:pathLst>
              <a:path w="3600352" h="1511300">
                <a:moveTo>
                  <a:pt x="0" y="0"/>
                </a:moveTo>
                <a:lnTo>
                  <a:pt x="1009552" y="0"/>
                </a:lnTo>
                <a:lnTo>
                  <a:pt x="1656184" y="0"/>
                </a:lnTo>
                <a:lnTo>
                  <a:pt x="3600352" y="0"/>
                </a:lnTo>
                <a:lnTo>
                  <a:pt x="3600352" y="1199350"/>
                </a:lnTo>
                <a:cubicBezTo>
                  <a:pt x="3600352" y="1371635"/>
                  <a:pt x="3460687" y="1511300"/>
                  <a:pt x="3288402" y="1511300"/>
                </a:cubicBezTo>
                <a:lnTo>
                  <a:pt x="1656184" y="1511300"/>
                </a:lnTo>
                <a:lnTo>
                  <a:pt x="100955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1" name="Picture Placeholder 43"/>
          <p:cNvSpPr>
            <a:spLocks noGrp="1"/>
          </p:cNvSpPr>
          <p:nvPr>
            <p:ph type="pic" sz="quarter" idx="24"/>
          </p:nvPr>
        </p:nvSpPr>
        <p:spPr>
          <a:xfrm>
            <a:off x="4297363" y="1557338"/>
            <a:ext cx="360045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2" name="Content Placeholder 2"/>
          <p:cNvSpPr>
            <a:spLocks noGrp="1"/>
          </p:cNvSpPr>
          <p:nvPr>
            <p:ph sz="half" idx="1"/>
          </p:nvPr>
        </p:nvSpPr>
        <p:spPr>
          <a:xfrm>
            <a:off x="481012" y="3717032"/>
            <a:ext cx="3600351" cy="2304356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 marL="714375" indent="-174625">
              <a:spcBef>
                <a:spcPts val="200"/>
              </a:spcBef>
              <a:defRPr sz="1000"/>
            </a:lvl4pPr>
            <a:lvl5pPr marL="898525" indent="-184150">
              <a:spcBef>
                <a:spcPts val="200"/>
              </a:spcBef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3" name="Text Placeholder 2"/>
          <p:cNvSpPr>
            <a:spLocks noGrp="1"/>
          </p:cNvSpPr>
          <p:nvPr>
            <p:ph type="body" idx="28"/>
          </p:nvPr>
        </p:nvSpPr>
        <p:spPr>
          <a:xfrm>
            <a:off x="481012" y="3141513"/>
            <a:ext cx="3600351" cy="575519"/>
          </a:xfrm>
        </p:spPr>
        <p:txBody>
          <a:bodyPr anchor="t" anchorCtr="0"/>
          <a:lstStyle>
            <a:lvl1pPr marL="0" indent="0">
              <a:spcBef>
                <a:spcPts val="60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9"/>
          </p:nvPr>
        </p:nvSpPr>
        <p:spPr>
          <a:xfrm>
            <a:off x="4297363" y="3141513"/>
            <a:ext cx="3600449" cy="575519"/>
          </a:xfrm>
        </p:spPr>
        <p:txBody>
          <a:bodyPr anchor="t" anchorCtr="0"/>
          <a:lstStyle>
            <a:lvl1pPr marL="0" indent="0">
              <a:spcBef>
                <a:spcPts val="60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113789" y="3141513"/>
            <a:ext cx="3599285" cy="575519"/>
          </a:xfrm>
        </p:spPr>
        <p:txBody>
          <a:bodyPr anchor="t" anchorCtr="0"/>
          <a:lstStyle>
            <a:lvl1pPr marL="0" indent="0">
              <a:spcBef>
                <a:spcPts val="60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sz="half" idx="30"/>
          </p:nvPr>
        </p:nvSpPr>
        <p:spPr>
          <a:xfrm>
            <a:off x="4297363" y="3717032"/>
            <a:ext cx="3600449" cy="2304356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 marL="714375" indent="-174625">
              <a:spcBef>
                <a:spcPts val="200"/>
              </a:spcBef>
              <a:defRPr sz="1000"/>
            </a:lvl4pPr>
            <a:lvl5pPr marL="898525" indent="-184150">
              <a:spcBef>
                <a:spcPts val="200"/>
              </a:spcBef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7" name="Content Placeholder 2"/>
          <p:cNvSpPr>
            <a:spLocks noGrp="1"/>
          </p:cNvSpPr>
          <p:nvPr>
            <p:ph sz="half" idx="31"/>
          </p:nvPr>
        </p:nvSpPr>
        <p:spPr>
          <a:xfrm>
            <a:off x="8113811" y="3717032"/>
            <a:ext cx="3600352" cy="2304356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 marL="714375" indent="-174625">
              <a:spcBef>
                <a:spcPts val="200"/>
              </a:spcBef>
              <a:defRPr sz="1000"/>
            </a:lvl4pPr>
            <a:lvl5pPr marL="898525" indent="-184150">
              <a:spcBef>
                <a:spcPts val="200"/>
              </a:spcBef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481013" y="1557338"/>
            <a:ext cx="3600350" cy="1511300"/>
          </a:xfrm>
          <a:custGeom>
            <a:avLst/>
            <a:gdLst/>
            <a:ahLst/>
            <a:cxnLst/>
            <a:rect l="l" t="t" r="r" b="b"/>
            <a:pathLst>
              <a:path w="3600350" h="1511300">
                <a:moveTo>
                  <a:pt x="311950" y="0"/>
                </a:moveTo>
                <a:lnTo>
                  <a:pt x="2088182" y="0"/>
                </a:lnTo>
                <a:lnTo>
                  <a:pt x="2590800" y="0"/>
                </a:lnTo>
                <a:lnTo>
                  <a:pt x="3600350" y="0"/>
                </a:lnTo>
                <a:lnTo>
                  <a:pt x="3600350" y="1511300"/>
                </a:lnTo>
                <a:lnTo>
                  <a:pt x="2590800" y="1511300"/>
                </a:lnTo>
                <a:lnTo>
                  <a:pt x="208818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44325314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3980B4-27F9-45A1-BE6E-33CD356A09D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1013" y="1557338"/>
            <a:ext cx="2700250" cy="1511300"/>
          </a:xfrm>
          <a:custGeom>
            <a:avLst/>
            <a:gdLst/>
            <a:ahLst/>
            <a:cxnLst/>
            <a:rect l="l" t="t" r="r" b="b"/>
            <a:pathLst>
              <a:path w="2700250" h="1511300">
                <a:moveTo>
                  <a:pt x="311950" y="0"/>
                </a:moveTo>
                <a:lnTo>
                  <a:pt x="1368102" y="0"/>
                </a:lnTo>
                <a:lnTo>
                  <a:pt x="1943100" y="0"/>
                </a:lnTo>
                <a:lnTo>
                  <a:pt x="2700250" y="0"/>
                </a:lnTo>
                <a:lnTo>
                  <a:pt x="2700250" y="1511300"/>
                </a:lnTo>
                <a:lnTo>
                  <a:pt x="1943100" y="1511300"/>
                </a:lnTo>
                <a:lnTo>
                  <a:pt x="136810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13911" y="1557338"/>
            <a:ext cx="2700252" cy="1511300"/>
          </a:xfrm>
          <a:custGeom>
            <a:avLst/>
            <a:gdLst/>
            <a:ahLst/>
            <a:cxnLst/>
            <a:rect l="l" t="t" r="r" b="b"/>
            <a:pathLst>
              <a:path w="2700252" h="1511300">
                <a:moveTo>
                  <a:pt x="0" y="0"/>
                </a:moveTo>
                <a:lnTo>
                  <a:pt x="757152" y="0"/>
                </a:lnTo>
                <a:lnTo>
                  <a:pt x="1188132" y="0"/>
                </a:lnTo>
                <a:lnTo>
                  <a:pt x="2700252" y="0"/>
                </a:lnTo>
                <a:lnTo>
                  <a:pt x="2700252" y="1199350"/>
                </a:lnTo>
                <a:cubicBezTo>
                  <a:pt x="2700252" y="1371635"/>
                  <a:pt x="2560587" y="1511300"/>
                  <a:pt x="2388302" y="1511300"/>
                </a:cubicBezTo>
                <a:lnTo>
                  <a:pt x="1188132" y="1511300"/>
                </a:lnTo>
                <a:lnTo>
                  <a:pt x="75715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4" name="Picture Placeholder 43"/>
          <p:cNvSpPr>
            <a:spLocks noGrp="1"/>
          </p:cNvSpPr>
          <p:nvPr>
            <p:ph type="pic" sz="quarter" idx="24"/>
          </p:nvPr>
        </p:nvSpPr>
        <p:spPr>
          <a:xfrm>
            <a:off x="3325813" y="1557338"/>
            <a:ext cx="2699766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6" name="Picture Placeholder 43"/>
          <p:cNvSpPr>
            <a:spLocks noGrp="1"/>
          </p:cNvSpPr>
          <p:nvPr>
            <p:ph type="pic" sz="quarter" idx="25"/>
          </p:nvPr>
        </p:nvSpPr>
        <p:spPr>
          <a:xfrm>
            <a:off x="6169123" y="1557338"/>
            <a:ext cx="270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1" name="Content Placeholder 2"/>
          <p:cNvSpPr>
            <a:spLocks noGrp="1"/>
          </p:cNvSpPr>
          <p:nvPr>
            <p:ph sz="half" idx="1"/>
          </p:nvPr>
        </p:nvSpPr>
        <p:spPr>
          <a:xfrm>
            <a:off x="481013" y="3140968"/>
            <a:ext cx="2700000" cy="2880420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772971"/>
            <a:ext cx="1041485" cy="295684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68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6169124" y="2772966"/>
            <a:ext cx="1041485" cy="295684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68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9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3325813" y="2772966"/>
            <a:ext cx="1041485" cy="295684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68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0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9013911" y="2772966"/>
            <a:ext cx="1041485" cy="295684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68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sz="half" idx="28"/>
          </p:nvPr>
        </p:nvSpPr>
        <p:spPr>
          <a:xfrm>
            <a:off x="3325279" y="3140968"/>
            <a:ext cx="2700000" cy="2880420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sz="half" idx="29"/>
          </p:nvPr>
        </p:nvSpPr>
        <p:spPr>
          <a:xfrm>
            <a:off x="6169595" y="3140968"/>
            <a:ext cx="2700000" cy="2880420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sz="half" idx="30"/>
          </p:nvPr>
        </p:nvSpPr>
        <p:spPr>
          <a:xfrm>
            <a:off x="9013911" y="3140968"/>
            <a:ext cx="2700000" cy="2880420"/>
          </a:xfrm>
        </p:spPr>
        <p:txBody>
          <a:bodyPr/>
          <a:lstStyle>
            <a:lvl1pPr marL="182563" indent="-182563">
              <a:spcBef>
                <a:spcPts val="200"/>
              </a:spcBef>
              <a:defRPr sz="1400"/>
            </a:lvl1pPr>
            <a:lvl2pPr marL="357188" indent="-174625">
              <a:spcBef>
                <a:spcPts val="200"/>
              </a:spcBef>
              <a:defRPr sz="1200"/>
            </a:lvl2pPr>
            <a:lvl3pPr marL="539750" indent="-182563">
              <a:spcBef>
                <a:spcPts val="200"/>
              </a:spcBef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7790918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33"/>
          </p:nvPr>
        </p:nvSpPr>
        <p:spPr>
          <a:xfrm>
            <a:off x="4297363" y="1557338"/>
            <a:ext cx="3600450" cy="2159694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34"/>
          </p:nvPr>
        </p:nvSpPr>
        <p:spPr>
          <a:xfrm>
            <a:off x="481012" y="1544334"/>
            <a:ext cx="3600295" cy="2159694"/>
          </a:xfrm>
          <a:custGeom>
            <a:avLst/>
            <a:gdLst/>
            <a:ahLst/>
            <a:cxnLst/>
            <a:rect l="l" t="t" r="r" b="b"/>
            <a:pathLst>
              <a:path w="3600295" h="2159694">
                <a:moveTo>
                  <a:pt x="359841" y="0"/>
                </a:moveTo>
                <a:lnTo>
                  <a:pt x="2448223" y="0"/>
                </a:lnTo>
                <a:lnTo>
                  <a:pt x="3312046" y="0"/>
                </a:lnTo>
                <a:lnTo>
                  <a:pt x="3600295" y="0"/>
                </a:lnTo>
                <a:lnTo>
                  <a:pt x="3600295" y="2159694"/>
                </a:lnTo>
                <a:lnTo>
                  <a:pt x="0" y="2159694"/>
                </a:lnTo>
                <a:lnTo>
                  <a:pt x="0" y="1799159"/>
                </a:lnTo>
                <a:lnTo>
                  <a:pt x="0" y="503510"/>
                </a:lnTo>
                <a:lnTo>
                  <a:pt x="0" y="359841"/>
                </a:lnTo>
                <a:cubicBezTo>
                  <a:pt x="0" y="161106"/>
                  <a:pt x="161106" y="0"/>
                  <a:pt x="35984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35"/>
          </p:nvPr>
        </p:nvSpPr>
        <p:spPr>
          <a:xfrm>
            <a:off x="8113867" y="3861694"/>
            <a:ext cx="3600296" cy="2159694"/>
          </a:xfrm>
          <a:custGeom>
            <a:avLst/>
            <a:gdLst/>
            <a:ahLst/>
            <a:cxnLst/>
            <a:rect l="l" t="t" r="r" b="b"/>
            <a:pathLst>
              <a:path w="3600296" h="2159694">
                <a:moveTo>
                  <a:pt x="0" y="0"/>
                </a:moveTo>
                <a:lnTo>
                  <a:pt x="3600296" y="0"/>
                </a:lnTo>
                <a:lnTo>
                  <a:pt x="3600296" y="2159694"/>
                </a:lnTo>
                <a:lnTo>
                  <a:pt x="0" y="2159694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10"/>
          <p:cNvSpPr>
            <a:spLocks noGrp="1"/>
          </p:cNvSpPr>
          <p:nvPr>
            <p:ph type="pic" sz="quarter" idx="36"/>
          </p:nvPr>
        </p:nvSpPr>
        <p:spPr>
          <a:xfrm>
            <a:off x="8113867" y="1557338"/>
            <a:ext cx="3600296" cy="2159694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10"/>
          <p:cNvSpPr>
            <a:spLocks noGrp="1"/>
          </p:cNvSpPr>
          <p:nvPr>
            <p:ph type="pic" sz="quarter" idx="37"/>
          </p:nvPr>
        </p:nvSpPr>
        <p:spPr>
          <a:xfrm>
            <a:off x="481013" y="3861694"/>
            <a:ext cx="3600294" cy="2159694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0"/>
          <p:cNvSpPr>
            <a:spLocks noGrp="1"/>
          </p:cNvSpPr>
          <p:nvPr>
            <p:ph type="pic" sz="quarter" idx="38"/>
          </p:nvPr>
        </p:nvSpPr>
        <p:spPr>
          <a:xfrm>
            <a:off x="4297387" y="3861694"/>
            <a:ext cx="3600400" cy="2159694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CC128-00A2-44D0-BA3D-BE47A952C3E6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0963" y="3447194"/>
            <a:ext cx="914848" cy="264349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4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8113867" y="3452683"/>
            <a:ext cx="914848" cy="264349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5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4297337" y="3452683"/>
            <a:ext cx="914848" cy="264349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0" name="Text Placeholder 34"/>
          <p:cNvSpPr>
            <a:spLocks noGrp="1"/>
          </p:cNvSpPr>
          <p:nvPr>
            <p:ph type="body" sz="quarter" idx="39" hasCustomPrompt="1"/>
          </p:nvPr>
        </p:nvSpPr>
        <p:spPr>
          <a:xfrm>
            <a:off x="480963" y="5751550"/>
            <a:ext cx="914848" cy="264349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1" name="Text Placeholder 34"/>
          <p:cNvSpPr>
            <a:spLocks noGrp="1"/>
          </p:cNvSpPr>
          <p:nvPr>
            <p:ph type="body" sz="quarter" idx="40" hasCustomPrompt="1"/>
          </p:nvPr>
        </p:nvSpPr>
        <p:spPr>
          <a:xfrm>
            <a:off x="8113867" y="5757039"/>
            <a:ext cx="914848" cy="264349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2" name="Text Placeholder 34"/>
          <p:cNvSpPr>
            <a:spLocks noGrp="1"/>
          </p:cNvSpPr>
          <p:nvPr>
            <p:ph type="body" sz="quarter" idx="41" hasCustomPrompt="1"/>
          </p:nvPr>
        </p:nvSpPr>
        <p:spPr>
          <a:xfrm>
            <a:off x="4297337" y="5757039"/>
            <a:ext cx="914848" cy="264349"/>
          </a:xfrm>
          <a:solidFill>
            <a:srgbClr val="50B948">
              <a:alpha val="69804"/>
            </a:srgbClr>
          </a:solidFill>
        </p:spPr>
        <p:txBody>
          <a:bodyPr wrap="non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640"/>
            <a:ext cx="11233150" cy="504727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81764810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ata she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481013" y="1557338"/>
            <a:ext cx="5544566" cy="1511300"/>
          </a:xfrm>
          <a:custGeom>
            <a:avLst/>
            <a:gdLst/>
            <a:ahLst/>
            <a:cxnLst/>
            <a:rect l="l" t="t" r="r" b="b"/>
            <a:pathLst>
              <a:path w="5557266" h="1511300">
                <a:moveTo>
                  <a:pt x="311950" y="0"/>
                </a:moveTo>
                <a:lnTo>
                  <a:pt x="2100882" y="0"/>
                </a:lnTo>
                <a:lnTo>
                  <a:pt x="4032250" y="0"/>
                </a:lnTo>
                <a:lnTo>
                  <a:pt x="5557266" y="0"/>
                </a:lnTo>
                <a:lnTo>
                  <a:pt x="5557266" y="1511300"/>
                </a:lnTo>
                <a:lnTo>
                  <a:pt x="4032250" y="1511300"/>
                </a:lnTo>
                <a:lnTo>
                  <a:pt x="210088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6169621" y="1557338"/>
            <a:ext cx="5544542" cy="1511300"/>
          </a:xfrm>
          <a:custGeom>
            <a:avLst/>
            <a:gdLst/>
            <a:ahLst/>
            <a:cxnLst/>
            <a:rect l="l" t="t" r="r" b="b"/>
            <a:pathLst>
              <a:path w="5544542" h="1511300">
                <a:moveTo>
                  <a:pt x="0" y="0"/>
                </a:moveTo>
                <a:lnTo>
                  <a:pt x="1510182" y="0"/>
                </a:lnTo>
                <a:lnTo>
                  <a:pt x="3456384" y="0"/>
                </a:lnTo>
                <a:lnTo>
                  <a:pt x="5542432" y="0"/>
                </a:lnTo>
                <a:lnTo>
                  <a:pt x="5542432" y="647492"/>
                </a:lnTo>
                <a:lnTo>
                  <a:pt x="5544542" y="647492"/>
                </a:lnTo>
                <a:lnTo>
                  <a:pt x="5544542" y="1511300"/>
                </a:lnTo>
                <a:lnTo>
                  <a:pt x="5230482" y="1511300"/>
                </a:lnTo>
                <a:lnTo>
                  <a:pt x="3960526" y="1511300"/>
                </a:lnTo>
                <a:lnTo>
                  <a:pt x="3456384" y="1511300"/>
                </a:lnTo>
                <a:lnTo>
                  <a:pt x="151018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2" name="Rectangle 31"/>
          <p:cNvSpPr/>
          <p:nvPr userDrawn="1"/>
        </p:nvSpPr>
        <p:spPr>
          <a:xfrm>
            <a:off x="481012" y="3068960"/>
            <a:ext cx="5544567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Rounded Rectangle 27"/>
          <p:cNvSpPr/>
          <p:nvPr userDrawn="1"/>
        </p:nvSpPr>
        <p:spPr>
          <a:xfrm>
            <a:off x="6169595" y="3068960"/>
            <a:ext cx="5544568" cy="2952428"/>
          </a:xfrm>
          <a:custGeom>
            <a:avLst/>
            <a:gdLst/>
            <a:ahLst/>
            <a:cxnLst/>
            <a:rect l="l" t="t" r="r" b="b"/>
            <a:pathLst>
              <a:path w="5544568" h="2952428">
                <a:moveTo>
                  <a:pt x="0" y="0"/>
                </a:moveTo>
                <a:lnTo>
                  <a:pt x="1872208" y="0"/>
                </a:lnTo>
                <a:lnTo>
                  <a:pt x="2231282" y="0"/>
                </a:lnTo>
                <a:lnTo>
                  <a:pt x="2736304" y="0"/>
                </a:lnTo>
                <a:lnTo>
                  <a:pt x="5185494" y="0"/>
                </a:lnTo>
                <a:lnTo>
                  <a:pt x="5544568" y="0"/>
                </a:lnTo>
                <a:lnTo>
                  <a:pt x="5544568" y="359074"/>
                </a:lnTo>
                <a:lnTo>
                  <a:pt x="5544568" y="1224136"/>
                </a:lnTo>
                <a:lnTo>
                  <a:pt x="5544568" y="2593354"/>
                </a:lnTo>
                <a:cubicBezTo>
                  <a:pt x="5544568" y="2791665"/>
                  <a:pt x="5383805" y="2952428"/>
                  <a:pt x="5185494" y="2952428"/>
                </a:cubicBezTo>
                <a:lnTo>
                  <a:pt x="2808312" y="2952428"/>
                </a:lnTo>
                <a:lnTo>
                  <a:pt x="2736304" y="2952428"/>
                </a:lnTo>
                <a:lnTo>
                  <a:pt x="2231282" y="2952428"/>
                </a:lnTo>
                <a:lnTo>
                  <a:pt x="1872208" y="2952428"/>
                </a:ln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6169596" y="3068960"/>
            <a:ext cx="5544568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5540529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242CFF-B6B6-4D9A-9C13-15E0633987E8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0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5544566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1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6169595" y="2804301"/>
            <a:ext cx="5544567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39082158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ata sheets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68E8-8095-4E93-BA40-E4C9D409D188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481013" y="1557338"/>
            <a:ext cx="5544566" cy="1511300"/>
          </a:xfrm>
          <a:custGeom>
            <a:avLst/>
            <a:gdLst/>
            <a:ahLst/>
            <a:cxnLst/>
            <a:rect l="l" t="t" r="r" b="b"/>
            <a:pathLst>
              <a:path w="5557266" h="1511300">
                <a:moveTo>
                  <a:pt x="311950" y="0"/>
                </a:moveTo>
                <a:lnTo>
                  <a:pt x="2100882" y="0"/>
                </a:lnTo>
                <a:lnTo>
                  <a:pt x="4032250" y="0"/>
                </a:lnTo>
                <a:lnTo>
                  <a:pt x="5557266" y="0"/>
                </a:lnTo>
                <a:lnTo>
                  <a:pt x="5557266" y="1511300"/>
                </a:lnTo>
                <a:lnTo>
                  <a:pt x="4032250" y="1511300"/>
                </a:lnTo>
                <a:lnTo>
                  <a:pt x="210088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6169621" y="1557338"/>
            <a:ext cx="5544542" cy="1511300"/>
          </a:xfrm>
          <a:custGeom>
            <a:avLst/>
            <a:gdLst/>
            <a:ahLst/>
            <a:cxnLst/>
            <a:rect l="l" t="t" r="r" b="b"/>
            <a:pathLst>
              <a:path w="5544542" h="1511300">
                <a:moveTo>
                  <a:pt x="0" y="0"/>
                </a:moveTo>
                <a:lnTo>
                  <a:pt x="1510182" y="0"/>
                </a:lnTo>
                <a:lnTo>
                  <a:pt x="3456384" y="0"/>
                </a:lnTo>
                <a:lnTo>
                  <a:pt x="5542432" y="0"/>
                </a:lnTo>
                <a:lnTo>
                  <a:pt x="5542432" y="647492"/>
                </a:lnTo>
                <a:lnTo>
                  <a:pt x="5544542" y="647492"/>
                </a:lnTo>
                <a:lnTo>
                  <a:pt x="5544542" y="1511300"/>
                </a:lnTo>
                <a:lnTo>
                  <a:pt x="5230482" y="1511300"/>
                </a:lnTo>
                <a:lnTo>
                  <a:pt x="3960526" y="1511300"/>
                </a:lnTo>
                <a:lnTo>
                  <a:pt x="3456384" y="1511300"/>
                </a:lnTo>
                <a:lnTo>
                  <a:pt x="151018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9" name="Rectangle 18"/>
          <p:cNvSpPr/>
          <p:nvPr userDrawn="1"/>
        </p:nvSpPr>
        <p:spPr>
          <a:xfrm>
            <a:off x="481012" y="3068960"/>
            <a:ext cx="5544567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0" name="Rounded Rectangle 27"/>
          <p:cNvSpPr/>
          <p:nvPr userDrawn="1"/>
        </p:nvSpPr>
        <p:spPr>
          <a:xfrm>
            <a:off x="6169595" y="3068960"/>
            <a:ext cx="5544568" cy="2952428"/>
          </a:xfrm>
          <a:custGeom>
            <a:avLst/>
            <a:gdLst/>
            <a:ahLst/>
            <a:cxnLst/>
            <a:rect l="l" t="t" r="r" b="b"/>
            <a:pathLst>
              <a:path w="5544568" h="2952428">
                <a:moveTo>
                  <a:pt x="0" y="0"/>
                </a:moveTo>
                <a:lnTo>
                  <a:pt x="1872208" y="0"/>
                </a:lnTo>
                <a:lnTo>
                  <a:pt x="2231282" y="0"/>
                </a:lnTo>
                <a:lnTo>
                  <a:pt x="2736304" y="0"/>
                </a:lnTo>
                <a:lnTo>
                  <a:pt x="5185494" y="0"/>
                </a:lnTo>
                <a:lnTo>
                  <a:pt x="5544568" y="0"/>
                </a:lnTo>
                <a:lnTo>
                  <a:pt x="5544568" y="359074"/>
                </a:lnTo>
                <a:lnTo>
                  <a:pt x="5544568" y="1224136"/>
                </a:lnTo>
                <a:lnTo>
                  <a:pt x="5544568" y="2593354"/>
                </a:lnTo>
                <a:cubicBezTo>
                  <a:pt x="5544568" y="2791665"/>
                  <a:pt x="5383805" y="2952428"/>
                  <a:pt x="5185494" y="2952428"/>
                </a:cubicBezTo>
                <a:lnTo>
                  <a:pt x="2808312" y="2952428"/>
                </a:lnTo>
                <a:lnTo>
                  <a:pt x="2736304" y="2952428"/>
                </a:lnTo>
                <a:lnTo>
                  <a:pt x="2231282" y="2952428"/>
                </a:lnTo>
                <a:lnTo>
                  <a:pt x="1872208" y="2952428"/>
                </a:ln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6169596" y="3068960"/>
            <a:ext cx="5544568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5540529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5544566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5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6169595" y="2804301"/>
            <a:ext cx="5544567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</p:spTree>
    <p:extLst>
      <p:ext uri="{BB962C8B-B14F-4D97-AF65-F5344CB8AC3E}">
        <p14:creationId xmlns:p14="http://schemas.microsoft.com/office/powerpoint/2010/main" val="1792418262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ata she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113811" y="1557338"/>
            <a:ext cx="3600352" cy="1511300"/>
          </a:xfrm>
          <a:custGeom>
            <a:avLst/>
            <a:gdLst/>
            <a:ahLst/>
            <a:cxnLst/>
            <a:rect l="l" t="t" r="r" b="b"/>
            <a:pathLst>
              <a:path w="3600352" h="1511300">
                <a:moveTo>
                  <a:pt x="0" y="0"/>
                </a:moveTo>
                <a:lnTo>
                  <a:pt x="1009552" y="0"/>
                </a:lnTo>
                <a:lnTo>
                  <a:pt x="1656184" y="0"/>
                </a:lnTo>
                <a:lnTo>
                  <a:pt x="3600352" y="0"/>
                </a:lnTo>
                <a:lnTo>
                  <a:pt x="3600352" y="431462"/>
                </a:lnTo>
                <a:lnTo>
                  <a:pt x="3600352" y="1199350"/>
                </a:lnTo>
                <a:lnTo>
                  <a:pt x="3600352" y="1511300"/>
                </a:lnTo>
                <a:lnTo>
                  <a:pt x="3288402" y="1511300"/>
                </a:lnTo>
                <a:lnTo>
                  <a:pt x="2808446" y="1511300"/>
                </a:lnTo>
                <a:lnTo>
                  <a:pt x="1656184" y="1511300"/>
                </a:lnTo>
                <a:lnTo>
                  <a:pt x="100955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1" name="Picture Placeholder 43"/>
          <p:cNvSpPr>
            <a:spLocks noGrp="1"/>
          </p:cNvSpPr>
          <p:nvPr>
            <p:ph type="pic" sz="quarter" idx="24"/>
          </p:nvPr>
        </p:nvSpPr>
        <p:spPr>
          <a:xfrm>
            <a:off x="4297363" y="1557338"/>
            <a:ext cx="360045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481013" y="1557338"/>
            <a:ext cx="3600350" cy="1511300"/>
          </a:xfrm>
          <a:custGeom>
            <a:avLst/>
            <a:gdLst/>
            <a:ahLst/>
            <a:cxnLst/>
            <a:rect l="l" t="t" r="r" b="b"/>
            <a:pathLst>
              <a:path w="3600350" h="1511300">
                <a:moveTo>
                  <a:pt x="311950" y="0"/>
                </a:moveTo>
                <a:lnTo>
                  <a:pt x="2088182" y="0"/>
                </a:lnTo>
                <a:lnTo>
                  <a:pt x="2590800" y="0"/>
                </a:lnTo>
                <a:lnTo>
                  <a:pt x="3600350" y="0"/>
                </a:lnTo>
                <a:lnTo>
                  <a:pt x="3600350" y="1511300"/>
                </a:lnTo>
                <a:lnTo>
                  <a:pt x="2590800" y="1511300"/>
                </a:lnTo>
                <a:lnTo>
                  <a:pt x="208818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8" name="Rounded Rectangle 27"/>
          <p:cNvSpPr/>
          <p:nvPr userDrawn="1"/>
        </p:nvSpPr>
        <p:spPr>
          <a:xfrm>
            <a:off x="8113867" y="3068960"/>
            <a:ext cx="3600296" cy="2952428"/>
          </a:xfrm>
          <a:custGeom>
            <a:avLst/>
            <a:gdLst/>
            <a:ahLst/>
            <a:cxnLst/>
            <a:rect l="l" t="t" r="r" b="b"/>
            <a:pathLst>
              <a:path w="3672360" h="2952428">
                <a:moveTo>
                  <a:pt x="0" y="0"/>
                </a:moveTo>
                <a:lnTo>
                  <a:pt x="359074" y="0"/>
                </a:lnTo>
                <a:lnTo>
                  <a:pt x="3313286" y="0"/>
                </a:lnTo>
                <a:lnTo>
                  <a:pt x="3672360" y="0"/>
                </a:lnTo>
                <a:lnTo>
                  <a:pt x="3672360" y="359074"/>
                </a:lnTo>
                <a:lnTo>
                  <a:pt x="3672360" y="1224136"/>
                </a:lnTo>
                <a:lnTo>
                  <a:pt x="3672360" y="2593354"/>
                </a:lnTo>
                <a:cubicBezTo>
                  <a:pt x="3672360" y="2791665"/>
                  <a:pt x="3511597" y="2952428"/>
                  <a:pt x="3313286" y="2952428"/>
                </a:cubicBezTo>
                <a:lnTo>
                  <a:pt x="936104" y="2952428"/>
                </a:lnTo>
                <a:lnTo>
                  <a:pt x="359074" y="2952428"/>
                </a:lnTo>
                <a:lnTo>
                  <a:pt x="0" y="2952428"/>
                </a:lnTo>
                <a:lnTo>
                  <a:pt x="0" y="2593354"/>
                </a:lnTo>
                <a:lnTo>
                  <a:pt x="0" y="1512168"/>
                </a:lnTo>
                <a:lnTo>
                  <a:pt x="0" y="1224136"/>
                </a:lnTo>
                <a:lnTo>
                  <a:pt x="0" y="359074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8113867" y="3068960"/>
            <a:ext cx="3600296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81012" y="3068960"/>
            <a:ext cx="3600295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0" name="Rectangle 19"/>
          <p:cNvSpPr/>
          <p:nvPr userDrawn="1"/>
        </p:nvSpPr>
        <p:spPr>
          <a:xfrm>
            <a:off x="4297388" y="3068960"/>
            <a:ext cx="36004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AF890-D344-4C66-AF03-BECF4D85545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3600294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4297387" y="3068960"/>
            <a:ext cx="3600399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3596257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4"/>
          <p:cNvSpPr>
            <a:spLocks noGrp="1"/>
          </p:cNvSpPr>
          <p:nvPr>
            <p:ph type="body" sz="quarter" idx="37" hasCustomPrompt="1"/>
          </p:nvPr>
        </p:nvSpPr>
        <p:spPr>
          <a:xfrm>
            <a:off x="4297387" y="2804306"/>
            <a:ext cx="36004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7" name="Text Placeholder 34"/>
          <p:cNvSpPr>
            <a:spLocks noGrp="1"/>
          </p:cNvSpPr>
          <p:nvPr>
            <p:ph type="body" sz="quarter" idx="38" hasCustomPrompt="1"/>
          </p:nvPr>
        </p:nvSpPr>
        <p:spPr>
          <a:xfrm>
            <a:off x="8113869" y="2804306"/>
            <a:ext cx="3600294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52814954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ata sheets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4C32B-B04C-4B15-8131-623860FB7D7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113811" y="1557338"/>
            <a:ext cx="3600352" cy="1511300"/>
          </a:xfrm>
          <a:custGeom>
            <a:avLst/>
            <a:gdLst/>
            <a:ahLst/>
            <a:cxnLst/>
            <a:rect l="l" t="t" r="r" b="b"/>
            <a:pathLst>
              <a:path w="3600352" h="1511300">
                <a:moveTo>
                  <a:pt x="0" y="0"/>
                </a:moveTo>
                <a:lnTo>
                  <a:pt x="1009552" y="0"/>
                </a:lnTo>
                <a:lnTo>
                  <a:pt x="1656184" y="0"/>
                </a:lnTo>
                <a:lnTo>
                  <a:pt x="3600352" y="0"/>
                </a:lnTo>
                <a:lnTo>
                  <a:pt x="3600352" y="431462"/>
                </a:lnTo>
                <a:lnTo>
                  <a:pt x="3600352" y="1199350"/>
                </a:lnTo>
                <a:lnTo>
                  <a:pt x="3600352" y="1511300"/>
                </a:lnTo>
                <a:lnTo>
                  <a:pt x="3288402" y="1511300"/>
                </a:lnTo>
                <a:lnTo>
                  <a:pt x="2808446" y="1511300"/>
                </a:lnTo>
                <a:lnTo>
                  <a:pt x="1656184" y="1511300"/>
                </a:lnTo>
                <a:lnTo>
                  <a:pt x="100955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5" name="Picture Placeholder 43"/>
          <p:cNvSpPr>
            <a:spLocks noGrp="1"/>
          </p:cNvSpPr>
          <p:nvPr>
            <p:ph type="pic" sz="quarter" idx="24"/>
          </p:nvPr>
        </p:nvSpPr>
        <p:spPr>
          <a:xfrm>
            <a:off x="4297363" y="1557338"/>
            <a:ext cx="360045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481013" y="1557338"/>
            <a:ext cx="3600350" cy="1511300"/>
          </a:xfrm>
          <a:custGeom>
            <a:avLst/>
            <a:gdLst/>
            <a:ahLst/>
            <a:cxnLst/>
            <a:rect l="l" t="t" r="r" b="b"/>
            <a:pathLst>
              <a:path w="3600350" h="1511300">
                <a:moveTo>
                  <a:pt x="311950" y="0"/>
                </a:moveTo>
                <a:lnTo>
                  <a:pt x="2088182" y="0"/>
                </a:lnTo>
                <a:lnTo>
                  <a:pt x="2590800" y="0"/>
                </a:lnTo>
                <a:lnTo>
                  <a:pt x="3600350" y="0"/>
                </a:lnTo>
                <a:lnTo>
                  <a:pt x="3600350" y="1511300"/>
                </a:lnTo>
                <a:lnTo>
                  <a:pt x="2590800" y="1511300"/>
                </a:lnTo>
                <a:lnTo>
                  <a:pt x="208818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1" name="Rounded Rectangle 27"/>
          <p:cNvSpPr/>
          <p:nvPr userDrawn="1"/>
        </p:nvSpPr>
        <p:spPr>
          <a:xfrm>
            <a:off x="8113867" y="3068960"/>
            <a:ext cx="3600296" cy="2952428"/>
          </a:xfrm>
          <a:custGeom>
            <a:avLst/>
            <a:gdLst/>
            <a:ahLst/>
            <a:cxnLst/>
            <a:rect l="l" t="t" r="r" b="b"/>
            <a:pathLst>
              <a:path w="3672360" h="2952428">
                <a:moveTo>
                  <a:pt x="0" y="0"/>
                </a:moveTo>
                <a:lnTo>
                  <a:pt x="359074" y="0"/>
                </a:lnTo>
                <a:lnTo>
                  <a:pt x="3313286" y="0"/>
                </a:lnTo>
                <a:lnTo>
                  <a:pt x="3672360" y="0"/>
                </a:lnTo>
                <a:lnTo>
                  <a:pt x="3672360" y="359074"/>
                </a:lnTo>
                <a:lnTo>
                  <a:pt x="3672360" y="1224136"/>
                </a:lnTo>
                <a:lnTo>
                  <a:pt x="3672360" y="2593354"/>
                </a:lnTo>
                <a:cubicBezTo>
                  <a:pt x="3672360" y="2791665"/>
                  <a:pt x="3511597" y="2952428"/>
                  <a:pt x="3313286" y="2952428"/>
                </a:cubicBezTo>
                <a:lnTo>
                  <a:pt x="936104" y="2952428"/>
                </a:lnTo>
                <a:lnTo>
                  <a:pt x="359074" y="2952428"/>
                </a:lnTo>
                <a:lnTo>
                  <a:pt x="0" y="2952428"/>
                </a:lnTo>
                <a:lnTo>
                  <a:pt x="0" y="2593354"/>
                </a:lnTo>
                <a:lnTo>
                  <a:pt x="0" y="1512168"/>
                </a:lnTo>
                <a:lnTo>
                  <a:pt x="0" y="1224136"/>
                </a:lnTo>
                <a:lnTo>
                  <a:pt x="0" y="359074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8113867" y="3068960"/>
            <a:ext cx="3600296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481012" y="3068960"/>
            <a:ext cx="3600295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4" name="Rectangle 33"/>
          <p:cNvSpPr/>
          <p:nvPr userDrawn="1"/>
        </p:nvSpPr>
        <p:spPr>
          <a:xfrm>
            <a:off x="4297388" y="3068960"/>
            <a:ext cx="36004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3600294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4297387" y="3068960"/>
            <a:ext cx="3600399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3596257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37" hasCustomPrompt="1"/>
          </p:nvPr>
        </p:nvSpPr>
        <p:spPr>
          <a:xfrm>
            <a:off x="4297387" y="2804306"/>
            <a:ext cx="36004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9" name="Text Placeholder 34"/>
          <p:cNvSpPr>
            <a:spLocks noGrp="1"/>
          </p:cNvSpPr>
          <p:nvPr>
            <p:ph type="body" sz="quarter" idx="38" hasCustomPrompt="1"/>
          </p:nvPr>
        </p:nvSpPr>
        <p:spPr>
          <a:xfrm>
            <a:off x="8113869" y="2804306"/>
            <a:ext cx="3600294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</p:spTree>
    <p:extLst>
      <p:ext uri="{BB962C8B-B14F-4D97-AF65-F5344CB8AC3E}">
        <p14:creationId xmlns:p14="http://schemas.microsoft.com/office/powerpoint/2010/main" val="4141227179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218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77371-58C1-4966-BFA7-FF4DC7081D6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1013" y="1557338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29586" y="1557001"/>
            <a:ext cx="10584001" cy="43199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1013" y="213242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1129586" y="2132090"/>
            <a:ext cx="1058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81013" y="270842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1129586" y="2708090"/>
            <a:ext cx="1058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481013" y="3285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1129586" y="3285000"/>
            <a:ext cx="1058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481013" y="3861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1129586" y="3861000"/>
            <a:ext cx="1058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1587" y="4436427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1130161" y="4436090"/>
            <a:ext cx="10583425" cy="43199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81587" y="5013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1130161" y="5013000"/>
            <a:ext cx="10583425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5249C75-4AF5-4360-A376-CD099813CB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587" y="5589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691BED2-517C-4622-A930-239AF57DF41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30161" y="5589000"/>
            <a:ext cx="10583425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18905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data she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80963" y="3068960"/>
            <a:ext cx="270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Rectangle 32"/>
          <p:cNvSpPr/>
          <p:nvPr userDrawn="1"/>
        </p:nvSpPr>
        <p:spPr>
          <a:xfrm>
            <a:off x="3325279" y="3068960"/>
            <a:ext cx="270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4" name="Rectangle 33"/>
          <p:cNvSpPr/>
          <p:nvPr userDrawn="1"/>
        </p:nvSpPr>
        <p:spPr>
          <a:xfrm>
            <a:off x="6169595" y="3068960"/>
            <a:ext cx="270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Rounded Rectangle 27"/>
          <p:cNvSpPr/>
          <p:nvPr userDrawn="1"/>
        </p:nvSpPr>
        <p:spPr>
          <a:xfrm>
            <a:off x="9014211" y="3068960"/>
            <a:ext cx="2700000" cy="2952428"/>
          </a:xfrm>
          <a:custGeom>
            <a:avLst/>
            <a:gdLst/>
            <a:ahLst/>
            <a:cxnLst/>
            <a:rect l="l" t="t" r="r" b="b"/>
            <a:pathLst>
              <a:path w="2736256" h="2952428">
                <a:moveTo>
                  <a:pt x="0" y="0"/>
                </a:moveTo>
                <a:lnTo>
                  <a:pt x="2377182" y="0"/>
                </a:lnTo>
                <a:lnTo>
                  <a:pt x="2736256" y="0"/>
                </a:lnTo>
                <a:lnTo>
                  <a:pt x="2736256" y="359074"/>
                </a:lnTo>
                <a:lnTo>
                  <a:pt x="2736256" y="1224136"/>
                </a:lnTo>
                <a:lnTo>
                  <a:pt x="2736256" y="2593354"/>
                </a:lnTo>
                <a:cubicBezTo>
                  <a:pt x="2736256" y="2791665"/>
                  <a:pt x="2575493" y="2952428"/>
                  <a:pt x="2377182" y="2952428"/>
                </a:cubicBez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3325579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36"/>
          </p:nvPr>
        </p:nvSpPr>
        <p:spPr>
          <a:xfrm>
            <a:off x="6169594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9014211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1013" y="1557338"/>
            <a:ext cx="2700250" cy="1511300"/>
          </a:xfrm>
          <a:custGeom>
            <a:avLst/>
            <a:gdLst/>
            <a:ahLst/>
            <a:cxnLst/>
            <a:rect l="l" t="t" r="r" b="b"/>
            <a:pathLst>
              <a:path w="2700250" h="1511300">
                <a:moveTo>
                  <a:pt x="311950" y="0"/>
                </a:moveTo>
                <a:lnTo>
                  <a:pt x="1368102" y="0"/>
                </a:lnTo>
                <a:lnTo>
                  <a:pt x="1943100" y="0"/>
                </a:lnTo>
                <a:lnTo>
                  <a:pt x="2700250" y="0"/>
                </a:lnTo>
                <a:lnTo>
                  <a:pt x="2700250" y="1511300"/>
                </a:lnTo>
                <a:lnTo>
                  <a:pt x="1943100" y="1511300"/>
                </a:lnTo>
                <a:lnTo>
                  <a:pt x="136810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13911" y="1557338"/>
            <a:ext cx="2700252" cy="1511300"/>
          </a:xfrm>
          <a:custGeom>
            <a:avLst/>
            <a:gdLst/>
            <a:ahLst/>
            <a:cxnLst/>
            <a:rect l="l" t="t" r="r" b="b"/>
            <a:pathLst>
              <a:path w="2700252" h="1511300">
                <a:moveTo>
                  <a:pt x="0" y="0"/>
                </a:moveTo>
                <a:lnTo>
                  <a:pt x="757152" y="0"/>
                </a:lnTo>
                <a:lnTo>
                  <a:pt x="1188132" y="0"/>
                </a:lnTo>
                <a:lnTo>
                  <a:pt x="2700252" y="0"/>
                </a:lnTo>
                <a:lnTo>
                  <a:pt x="2700252" y="791512"/>
                </a:lnTo>
                <a:lnTo>
                  <a:pt x="2700252" y="1199350"/>
                </a:lnTo>
                <a:lnTo>
                  <a:pt x="2700252" y="1511300"/>
                </a:lnTo>
                <a:lnTo>
                  <a:pt x="2388302" y="1511300"/>
                </a:lnTo>
                <a:lnTo>
                  <a:pt x="1764326" y="1511300"/>
                </a:lnTo>
                <a:lnTo>
                  <a:pt x="1188132" y="1511300"/>
                </a:lnTo>
                <a:lnTo>
                  <a:pt x="75715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6" name="Picture Placeholder 43"/>
          <p:cNvSpPr>
            <a:spLocks noGrp="1"/>
          </p:cNvSpPr>
          <p:nvPr>
            <p:ph type="pic" sz="quarter" idx="24"/>
          </p:nvPr>
        </p:nvSpPr>
        <p:spPr>
          <a:xfrm>
            <a:off x="3325813" y="1557338"/>
            <a:ext cx="2699766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7" name="Picture Placeholder 43"/>
          <p:cNvSpPr>
            <a:spLocks noGrp="1"/>
          </p:cNvSpPr>
          <p:nvPr>
            <p:ph type="pic" sz="quarter" idx="25"/>
          </p:nvPr>
        </p:nvSpPr>
        <p:spPr>
          <a:xfrm>
            <a:off x="6169123" y="1557338"/>
            <a:ext cx="270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3931-528C-4AE5-B8C5-3AB29FB94C84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0963" y="2804306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6169595" y="2804301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9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3325279" y="2804301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0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9014211" y="2804301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8692554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data sheets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651DA-5865-4694-B753-E15DEA681E0B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23" name="Rectangle 22"/>
          <p:cNvSpPr/>
          <p:nvPr userDrawn="1"/>
        </p:nvSpPr>
        <p:spPr>
          <a:xfrm>
            <a:off x="480963" y="3068960"/>
            <a:ext cx="270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Rectangle 25"/>
          <p:cNvSpPr/>
          <p:nvPr userDrawn="1"/>
        </p:nvSpPr>
        <p:spPr>
          <a:xfrm>
            <a:off x="3325279" y="3068960"/>
            <a:ext cx="270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7" name="Rectangle 26"/>
          <p:cNvSpPr/>
          <p:nvPr userDrawn="1"/>
        </p:nvSpPr>
        <p:spPr>
          <a:xfrm>
            <a:off x="6169595" y="3068960"/>
            <a:ext cx="270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5" name="Rounded Rectangle 27"/>
          <p:cNvSpPr/>
          <p:nvPr userDrawn="1"/>
        </p:nvSpPr>
        <p:spPr>
          <a:xfrm>
            <a:off x="9014211" y="3068960"/>
            <a:ext cx="2700000" cy="2952428"/>
          </a:xfrm>
          <a:custGeom>
            <a:avLst/>
            <a:gdLst/>
            <a:ahLst/>
            <a:cxnLst/>
            <a:rect l="l" t="t" r="r" b="b"/>
            <a:pathLst>
              <a:path w="2736256" h="2952428">
                <a:moveTo>
                  <a:pt x="0" y="0"/>
                </a:moveTo>
                <a:lnTo>
                  <a:pt x="2377182" y="0"/>
                </a:lnTo>
                <a:lnTo>
                  <a:pt x="2736256" y="0"/>
                </a:lnTo>
                <a:lnTo>
                  <a:pt x="2736256" y="359074"/>
                </a:lnTo>
                <a:lnTo>
                  <a:pt x="2736256" y="1224136"/>
                </a:lnTo>
                <a:lnTo>
                  <a:pt x="2736256" y="2593354"/>
                </a:lnTo>
                <a:cubicBezTo>
                  <a:pt x="2736256" y="2791665"/>
                  <a:pt x="2575493" y="2952428"/>
                  <a:pt x="2377182" y="2952428"/>
                </a:cubicBez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3325579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6"/>
          </p:nvPr>
        </p:nvSpPr>
        <p:spPr>
          <a:xfrm>
            <a:off x="6169594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9014211" y="3068960"/>
            <a:ext cx="2700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1013" y="1557338"/>
            <a:ext cx="2700250" cy="1511300"/>
          </a:xfrm>
          <a:custGeom>
            <a:avLst/>
            <a:gdLst/>
            <a:ahLst/>
            <a:cxnLst/>
            <a:rect l="l" t="t" r="r" b="b"/>
            <a:pathLst>
              <a:path w="2700250" h="1511300">
                <a:moveTo>
                  <a:pt x="311950" y="0"/>
                </a:moveTo>
                <a:lnTo>
                  <a:pt x="1368102" y="0"/>
                </a:lnTo>
                <a:lnTo>
                  <a:pt x="1943100" y="0"/>
                </a:lnTo>
                <a:lnTo>
                  <a:pt x="2700250" y="0"/>
                </a:lnTo>
                <a:lnTo>
                  <a:pt x="2700250" y="1511300"/>
                </a:lnTo>
                <a:lnTo>
                  <a:pt x="1943100" y="1511300"/>
                </a:lnTo>
                <a:lnTo>
                  <a:pt x="1368102" y="1511300"/>
                </a:lnTo>
                <a:lnTo>
                  <a:pt x="0" y="1511300"/>
                </a:lnTo>
                <a:lnTo>
                  <a:pt x="0" y="311950"/>
                </a:lnTo>
                <a:cubicBezTo>
                  <a:pt x="0" y="139665"/>
                  <a:pt x="139665" y="0"/>
                  <a:pt x="31195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1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13911" y="1557338"/>
            <a:ext cx="2700252" cy="1511300"/>
          </a:xfrm>
          <a:custGeom>
            <a:avLst/>
            <a:gdLst/>
            <a:ahLst/>
            <a:cxnLst/>
            <a:rect l="l" t="t" r="r" b="b"/>
            <a:pathLst>
              <a:path w="2700252" h="1511300">
                <a:moveTo>
                  <a:pt x="0" y="0"/>
                </a:moveTo>
                <a:lnTo>
                  <a:pt x="757152" y="0"/>
                </a:lnTo>
                <a:lnTo>
                  <a:pt x="1188132" y="0"/>
                </a:lnTo>
                <a:lnTo>
                  <a:pt x="2700252" y="0"/>
                </a:lnTo>
                <a:lnTo>
                  <a:pt x="2700252" y="791512"/>
                </a:lnTo>
                <a:lnTo>
                  <a:pt x="2700252" y="1199350"/>
                </a:lnTo>
                <a:lnTo>
                  <a:pt x="2700252" y="1511300"/>
                </a:lnTo>
                <a:lnTo>
                  <a:pt x="2388302" y="1511300"/>
                </a:lnTo>
                <a:lnTo>
                  <a:pt x="1764326" y="1511300"/>
                </a:lnTo>
                <a:lnTo>
                  <a:pt x="1188132" y="1511300"/>
                </a:lnTo>
                <a:lnTo>
                  <a:pt x="757152" y="1511300"/>
                </a:lnTo>
                <a:lnTo>
                  <a:pt x="0" y="15113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2" name="Picture Placeholder 43"/>
          <p:cNvSpPr>
            <a:spLocks noGrp="1"/>
          </p:cNvSpPr>
          <p:nvPr>
            <p:ph type="pic" sz="quarter" idx="24"/>
          </p:nvPr>
        </p:nvSpPr>
        <p:spPr>
          <a:xfrm>
            <a:off x="3325813" y="1557338"/>
            <a:ext cx="2699766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3" name="Picture Placeholder 43"/>
          <p:cNvSpPr>
            <a:spLocks noGrp="1"/>
          </p:cNvSpPr>
          <p:nvPr>
            <p:ph type="pic" sz="quarter" idx="25"/>
          </p:nvPr>
        </p:nvSpPr>
        <p:spPr>
          <a:xfrm>
            <a:off x="6169123" y="1557338"/>
            <a:ext cx="270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4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0963" y="2804306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5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6169595" y="2804301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6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3325279" y="2804301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9014211" y="2804301"/>
            <a:ext cx="270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</p:spTree>
    <p:extLst>
      <p:ext uri="{BB962C8B-B14F-4D97-AF65-F5344CB8AC3E}">
        <p14:creationId xmlns:p14="http://schemas.microsoft.com/office/powerpoint/2010/main" val="3732375206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data she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481013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Rectangle 37"/>
          <p:cNvSpPr/>
          <p:nvPr userDrawn="1"/>
        </p:nvSpPr>
        <p:spPr>
          <a:xfrm>
            <a:off x="2772000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9" name="Rectangle 38"/>
          <p:cNvSpPr/>
          <p:nvPr userDrawn="1"/>
        </p:nvSpPr>
        <p:spPr>
          <a:xfrm>
            <a:off x="5053590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0" name="Rectangle 39"/>
          <p:cNvSpPr/>
          <p:nvPr userDrawn="1"/>
        </p:nvSpPr>
        <p:spPr>
          <a:xfrm>
            <a:off x="7336800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7" name="Rounded Rectangle 27"/>
          <p:cNvSpPr/>
          <p:nvPr userDrawn="1"/>
        </p:nvSpPr>
        <p:spPr>
          <a:xfrm>
            <a:off x="9625979" y="3068960"/>
            <a:ext cx="2088184" cy="2952428"/>
          </a:xfrm>
          <a:custGeom>
            <a:avLst/>
            <a:gdLst/>
            <a:ahLst/>
            <a:cxnLst/>
            <a:rect l="l" t="t" r="r" b="b"/>
            <a:pathLst>
              <a:path w="2088184" h="2952428">
                <a:moveTo>
                  <a:pt x="0" y="0"/>
                </a:moveTo>
                <a:lnTo>
                  <a:pt x="1729110" y="0"/>
                </a:lnTo>
                <a:lnTo>
                  <a:pt x="2088184" y="0"/>
                </a:lnTo>
                <a:lnTo>
                  <a:pt x="2088184" y="359074"/>
                </a:lnTo>
                <a:lnTo>
                  <a:pt x="2088184" y="1224136"/>
                </a:lnTo>
                <a:lnTo>
                  <a:pt x="2088184" y="2593354"/>
                </a:lnTo>
                <a:cubicBezTo>
                  <a:pt x="2088184" y="2791665"/>
                  <a:pt x="1927421" y="2952428"/>
                  <a:pt x="1729110" y="2952428"/>
                </a:cubicBez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2772000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36"/>
          </p:nvPr>
        </p:nvSpPr>
        <p:spPr>
          <a:xfrm>
            <a:off x="5053588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7336800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9626163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81013" y="1557338"/>
            <a:ext cx="2088182" cy="1511622"/>
          </a:xfrm>
          <a:custGeom>
            <a:avLst/>
            <a:gdLst/>
            <a:ahLst/>
            <a:cxnLst/>
            <a:rect l="l" t="t" r="r" b="b"/>
            <a:pathLst>
              <a:path w="2088182" h="1511622">
                <a:moveTo>
                  <a:pt x="359961" y="0"/>
                </a:moveTo>
                <a:lnTo>
                  <a:pt x="2088182" y="0"/>
                </a:lnTo>
                <a:lnTo>
                  <a:pt x="2088182" y="1511622"/>
                </a:lnTo>
                <a:lnTo>
                  <a:pt x="2016174" y="1511622"/>
                </a:lnTo>
                <a:lnTo>
                  <a:pt x="2016174" y="1511300"/>
                </a:lnTo>
                <a:lnTo>
                  <a:pt x="0" y="1511300"/>
                </a:lnTo>
                <a:lnTo>
                  <a:pt x="0" y="359961"/>
                </a:lnTo>
                <a:cubicBezTo>
                  <a:pt x="0" y="161160"/>
                  <a:pt x="161160" y="0"/>
                  <a:pt x="35996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9"/>
          <p:cNvSpPr>
            <a:spLocks noGrp="1"/>
          </p:cNvSpPr>
          <p:nvPr>
            <p:ph type="pic" sz="quarter" idx="42"/>
          </p:nvPr>
        </p:nvSpPr>
        <p:spPr>
          <a:xfrm>
            <a:off x="9626163" y="1557338"/>
            <a:ext cx="2088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778F9-B15D-4DDE-B771-923FFD545019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7336800" y="1557338"/>
            <a:ext cx="2088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37"/>
          </p:nvPr>
        </p:nvSpPr>
        <p:spPr>
          <a:xfrm>
            <a:off x="5053588" y="1557338"/>
            <a:ext cx="2088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38"/>
          </p:nvPr>
        </p:nvSpPr>
        <p:spPr>
          <a:xfrm>
            <a:off x="2772000" y="1557338"/>
            <a:ext cx="2088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5053588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9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2772000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0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7336800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2" name="Text Placeholder 34"/>
          <p:cNvSpPr>
            <a:spLocks noGrp="1"/>
          </p:cNvSpPr>
          <p:nvPr>
            <p:ph type="body" sz="quarter" idx="40" hasCustomPrompt="1"/>
          </p:nvPr>
        </p:nvSpPr>
        <p:spPr>
          <a:xfrm>
            <a:off x="9626163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38001329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data sheets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31820-E007-4470-86E8-3EAB2DDA7B50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59" name="Rectangle 58"/>
          <p:cNvSpPr/>
          <p:nvPr userDrawn="1"/>
        </p:nvSpPr>
        <p:spPr>
          <a:xfrm>
            <a:off x="481013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0" name="Rectangle 59"/>
          <p:cNvSpPr/>
          <p:nvPr userDrawn="1"/>
        </p:nvSpPr>
        <p:spPr>
          <a:xfrm>
            <a:off x="2772000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1" name="Rectangle 60"/>
          <p:cNvSpPr/>
          <p:nvPr userDrawn="1"/>
        </p:nvSpPr>
        <p:spPr>
          <a:xfrm>
            <a:off x="5053590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2" name="Rectangle 61"/>
          <p:cNvSpPr/>
          <p:nvPr userDrawn="1"/>
        </p:nvSpPr>
        <p:spPr>
          <a:xfrm>
            <a:off x="7336800" y="3068960"/>
            <a:ext cx="2088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3" name="Rounded Rectangle 27"/>
          <p:cNvSpPr/>
          <p:nvPr userDrawn="1"/>
        </p:nvSpPr>
        <p:spPr>
          <a:xfrm>
            <a:off x="9625979" y="3068960"/>
            <a:ext cx="2088184" cy="2952428"/>
          </a:xfrm>
          <a:custGeom>
            <a:avLst/>
            <a:gdLst/>
            <a:ahLst/>
            <a:cxnLst/>
            <a:rect l="l" t="t" r="r" b="b"/>
            <a:pathLst>
              <a:path w="2088184" h="2952428">
                <a:moveTo>
                  <a:pt x="0" y="0"/>
                </a:moveTo>
                <a:lnTo>
                  <a:pt x="1729110" y="0"/>
                </a:lnTo>
                <a:lnTo>
                  <a:pt x="2088184" y="0"/>
                </a:lnTo>
                <a:lnTo>
                  <a:pt x="2088184" y="359074"/>
                </a:lnTo>
                <a:lnTo>
                  <a:pt x="2088184" y="1224136"/>
                </a:lnTo>
                <a:lnTo>
                  <a:pt x="2088184" y="2593354"/>
                </a:lnTo>
                <a:cubicBezTo>
                  <a:pt x="2088184" y="2791665"/>
                  <a:pt x="1927421" y="2952428"/>
                  <a:pt x="1729110" y="2952428"/>
                </a:cubicBez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2772000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36"/>
          </p:nvPr>
        </p:nvSpPr>
        <p:spPr>
          <a:xfrm>
            <a:off x="5053588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7336800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9626163" y="3068960"/>
            <a:ext cx="2088000" cy="2952428"/>
          </a:xfrm>
          <a:noFill/>
        </p:spPr>
        <p:txBody>
          <a:bodyPr lIns="144000" tIns="108000" rIns="144000" bIns="108000"/>
          <a:lstStyle>
            <a:lvl1pPr marL="182563" indent="-182563">
              <a:spcBef>
                <a:spcPts val="200"/>
              </a:spcBef>
              <a:spcAft>
                <a:spcPts val="0"/>
              </a:spcAft>
              <a:defRPr sz="1400"/>
            </a:lvl1pPr>
            <a:lvl2pPr marL="357188" indent="-174625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81013" y="1557338"/>
            <a:ext cx="2088182" cy="1511622"/>
          </a:xfrm>
          <a:custGeom>
            <a:avLst/>
            <a:gdLst/>
            <a:ahLst/>
            <a:cxnLst/>
            <a:rect l="l" t="t" r="r" b="b"/>
            <a:pathLst>
              <a:path w="2088182" h="1511622">
                <a:moveTo>
                  <a:pt x="359961" y="0"/>
                </a:moveTo>
                <a:lnTo>
                  <a:pt x="2088182" y="0"/>
                </a:lnTo>
                <a:lnTo>
                  <a:pt x="2088182" y="1511622"/>
                </a:lnTo>
                <a:lnTo>
                  <a:pt x="2016174" y="1511622"/>
                </a:lnTo>
                <a:lnTo>
                  <a:pt x="2016174" y="1511300"/>
                </a:lnTo>
                <a:lnTo>
                  <a:pt x="0" y="1511300"/>
                </a:lnTo>
                <a:lnTo>
                  <a:pt x="0" y="359961"/>
                </a:lnTo>
                <a:cubicBezTo>
                  <a:pt x="0" y="161160"/>
                  <a:pt x="161160" y="0"/>
                  <a:pt x="35996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9"/>
          <p:cNvSpPr>
            <a:spLocks noGrp="1"/>
          </p:cNvSpPr>
          <p:nvPr>
            <p:ph type="pic" sz="quarter" idx="42"/>
          </p:nvPr>
        </p:nvSpPr>
        <p:spPr>
          <a:xfrm>
            <a:off x="9626163" y="1557338"/>
            <a:ext cx="2088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7336800" y="1557338"/>
            <a:ext cx="2088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10"/>
          <p:cNvSpPr>
            <a:spLocks noGrp="1"/>
          </p:cNvSpPr>
          <p:nvPr>
            <p:ph type="pic" sz="quarter" idx="37"/>
          </p:nvPr>
        </p:nvSpPr>
        <p:spPr>
          <a:xfrm>
            <a:off x="5053588" y="1557338"/>
            <a:ext cx="2088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10"/>
          <p:cNvSpPr>
            <a:spLocks noGrp="1"/>
          </p:cNvSpPr>
          <p:nvPr>
            <p:ph type="pic" sz="quarter" idx="38"/>
          </p:nvPr>
        </p:nvSpPr>
        <p:spPr>
          <a:xfrm>
            <a:off x="2772000" y="1557338"/>
            <a:ext cx="2088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5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5053588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6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2772000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7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7336800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8" name="Text Placeholder 34"/>
          <p:cNvSpPr>
            <a:spLocks noGrp="1"/>
          </p:cNvSpPr>
          <p:nvPr>
            <p:ph type="body" sz="quarter" idx="40" hasCustomPrompt="1"/>
          </p:nvPr>
        </p:nvSpPr>
        <p:spPr>
          <a:xfrm>
            <a:off x="9626163" y="2804301"/>
            <a:ext cx="2088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</p:spTree>
    <p:extLst>
      <p:ext uri="{BB962C8B-B14F-4D97-AF65-F5344CB8AC3E}">
        <p14:creationId xmlns:p14="http://schemas.microsoft.com/office/powerpoint/2010/main" val="1370338411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data she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ounded Rectangle 27"/>
          <p:cNvSpPr/>
          <p:nvPr userDrawn="1"/>
        </p:nvSpPr>
        <p:spPr>
          <a:xfrm>
            <a:off x="10274051" y="3068960"/>
            <a:ext cx="1440000" cy="2952428"/>
          </a:xfrm>
          <a:custGeom>
            <a:avLst/>
            <a:gdLst/>
            <a:ahLst/>
            <a:cxnLst/>
            <a:rect l="l" t="t" r="r" b="b"/>
            <a:pathLst>
              <a:path w="1440112" h="2952428">
                <a:moveTo>
                  <a:pt x="0" y="0"/>
                </a:moveTo>
                <a:lnTo>
                  <a:pt x="1081038" y="0"/>
                </a:lnTo>
                <a:lnTo>
                  <a:pt x="1440112" y="0"/>
                </a:lnTo>
                <a:lnTo>
                  <a:pt x="1440112" y="359074"/>
                </a:lnTo>
                <a:lnTo>
                  <a:pt x="1440112" y="1224136"/>
                </a:lnTo>
                <a:lnTo>
                  <a:pt x="1440112" y="2593354"/>
                </a:lnTo>
                <a:cubicBezTo>
                  <a:pt x="1440112" y="2791665"/>
                  <a:pt x="1279349" y="2952428"/>
                  <a:pt x="1081038" y="2952428"/>
                </a:cubicBez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46"/>
          </p:nvPr>
        </p:nvSpPr>
        <p:spPr>
          <a:xfrm>
            <a:off x="10274211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481013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6" name="Rectangle 45"/>
          <p:cNvSpPr/>
          <p:nvPr userDrawn="1"/>
        </p:nvSpPr>
        <p:spPr>
          <a:xfrm>
            <a:off x="21240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7" name="Rectangle 46"/>
          <p:cNvSpPr/>
          <p:nvPr userDrawn="1"/>
        </p:nvSpPr>
        <p:spPr>
          <a:xfrm>
            <a:off x="37476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8" name="Rectangle 47"/>
          <p:cNvSpPr/>
          <p:nvPr userDrawn="1"/>
        </p:nvSpPr>
        <p:spPr>
          <a:xfrm>
            <a:off x="5377508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9" name="Rectangle 48"/>
          <p:cNvSpPr/>
          <p:nvPr userDrawn="1"/>
        </p:nvSpPr>
        <p:spPr>
          <a:xfrm>
            <a:off x="70056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0" name="Rectangle 49"/>
          <p:cNvSpPr/>
          <p:nvPr userDrawn="1"/>
        </p:nvSpPr>
        <p:spPr>
          <a:xfrm>
            <a:off x="86328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3" name="Picture Placeholder 9"/>
          <p:cNvSpPr>
            <a:spLocks noGrp="1"/>
          </p:cNvSpPr>
          <p:nvPr>
            <p:ph type="pic" sz="quarter" idx="47"/>
          </p:nvPr>
        </p:nvSpPr>
        <p:spPr>
          <a:xfrm>
            <a:off x="8632800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9"/>
          <p:cNvSpPr>
            <a:spLocks noGrp="1"/>
          </p:cNvSpPr>
          <p:nvPr>
            <p:ph type="pic" sz="quarter" idx="48"/>
          </p:nvPr>
        </p:nvSpPr>
        <p:spPr>
          <a:xfrm>
            <a:off x="10274211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81013" y="1557338"/>
            <a:ext cx="1440000" cy="1511300"/>
          </a:xfrm>
          <a:custGeom>
            <a:avLst/>
            <a:gdLst/>
            <a:ahLst/>
            <a:cxnLst/>
            <a:rect l="l" t="t" r="r" b="b"/>
            <a:pathLst>
              <a:path w="1440110" h="1511300">
                <a:moveTo>
                  <a:pt x="359961" y="0"/>
                </a:moveTo>
                <a:lnTo>
                  <a:pt x="1440110" y="0"/>
                </a:lnTo>
                <a:lnTo>
                  <a:pt x="1440110" y="1511300"/>
                </a:lnTo>
                <a:lnTo>
                  <a:pt x="0" y="1511300"/>
                </a:lnTo>
                <a:lnTo>
                  <a:pt x="0" y="359961"/>
                </a:lnTo>
                <a:cubicBezTo>
                  <a:pt x="0" y="161160"/>
                  <a:pt x="161160" y="0"/>
                  <a:pt x="35996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9"/>
          <p:cNvSpPr>
            <a:spLocks noGrp="1"/>
          </p:cNvSpPr>
          <p:nvPr>
            <p:ph type="pic" sz="quarter" idx="42"/>
          </p:nvPr>
        </p:nvSpPr>
        <p:spPr>
          <a:xfrm>
            <a:off x="7005600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33B3F-C0A4-4019-9A50-1F2407F39BA9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2124000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36"/>
          </p:nvPr>
        </p:nvSpPr>
        <p:spPr>
          <a:xfrm>
            <a:off x="3747600" y="3068960"/>
            <a:ext cx="1440000" cy="2952428"/>
          </a:xfrm>
          <a:noFill/>
        </p:spPr>
        <p:txBody>
          <a:bodyPr lIns="144000" tIns="108000" rIns="72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5377508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37"/>
          </p:nvPr>
        </p:nvSpPr>
        <p:spPr>
          <a:xfrm>
            <a:off x="3747600" y="1557338"/>
            <a:ext cx="144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38"/>
          </p:nvPr>
        </p:nvSpPr>
        <p:spPr>
          <a:xfrm>
            <a:off x="2124000" y="1557338"/>
            <a:ext cx="144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37476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29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21240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0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5377507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5377509" y="3068960"/>
            <a:ext cx="1440000" cy="2952428"/>
          </a:xfrm>
          <a:noFill/>
        </p:spPr>
        <p:txBody>
          <a:bodyPr lIns="144000" tIns="108000" rIns="72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4"/>
          <p:cNvSpPr>
            <a:spLocks noGrp="1"/>
          </p:cNvSpPr>
          <p:nvPr>
            <p:ph type="body" sz="quarter" idx="40" hasCustomPrompt="1"/>
          </p:nvPr>
        </p:nvSpPr>
        <p:spPr>
          <a:xfrm>
            <a:off x="70056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7005600" y="3068960"/>
            <a:ext cx="1440000" cy="2952428"/>
          </a:xfrm>
          <a:noFill/>
        </p:spPr>
        <p:txBody>
          <a:bodyPr lIns="144000" tIns="108000" rIns="72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34"/>
          <p:cNvSpPr>
            <a:spLocks noGrp="1"/>
          </p:cNvSpPr>
          <p:nvPr>
            <p:ph type="body" sz="quarter" idx="43" hasCustomPrompt="1"/>
          </p:nvPr>
        </p:nvSpPr>
        <p:spPr>
          <a:xfrm>
            <a:off x="86328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0" name="Text Placeholder 34"/>
          <p:cNvSpPr>
            <a:spLocks noGrp="1"/>
          </p:cNvSpPr>
          <p:nvPr>
            <p:ph type="body" sz="quarter" idx="44" hasCustomPrompt="1"/>
          </p:nvPr>
        </p:nvSpPr>
        <p:spPr>
          <a:xfrm>
            <a:off x="10274211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45"/>
          </p:nvPr>
        </p:nvSpPr>
        <p:spPr>
          <a:xfrm>
            <a:off x="8632800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25497819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data sheets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E800-D9E6-4F7B-8C91-FA66BFC03E4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  <p:sp>
        <p:nvSpPr>
          <p:cNvPr id="41" name="Rounded Rectangle 27"/>
          <p:cNvSpPr/>
          <p:nvPr userDrawn="1"/>
        </p:nvSpPr>
        <p:spPr>
          <a:xfrm>
            <a:off x="10274051" y="3068960"/>
            <a:ext cx="1440000" cy="2952428"/>
          </a:xfrm>
          <a:custGeom>
            <a:avLst/>
            <a:gdLst/>
            <a:ahLst/>
            <a:cxnLst/>
            <a:rect l="l" t="t" r="r" b="b"/>
            <a:pathLst>
              <a:path w="1440112" h="2952428">
                <a:moveTo>
                  <a:pt x="0" y="0"/>
                </a:moveTo>
                <a:lnTo>
                  <a:pt x="1081038" y="0"/>
                </a:lnTo>
                <a:lnTo>
                  <a:pt x="1440112" y="0"/>
                </a:lnTo>
                <a:lnTo>
                  <a:pt x="1440112" y="359074"/>
                </a:lnTo>
                <a:lnTo>
                  <a:pt x="1440112" y="1224136"/>
                </a:lnTo>
                <a:lnTo>
                  <a:pt x="1440112" y="2593354"/>
                </a:lnTo>
                <a:cubicBezTo>
                  <a:pt x="1440112" y="2791665"/>
                  <a:pt x="1279349" y="2952428"/>
                  <a:pt x="1081038" y="2952428"/>
                </a:cubicBezTo>
                <a:lnTo>
                  <a:pt x="0" y="295242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46"/>
          </p:nvPr>
        </p:nvSpPr>
        <p:spPr>
          <a:xfrm>
            <a:off x="10274211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481013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6" name="Rectangle 45"/>
          <p:cNvSpPr/>
          <p:nvPr userDrawn="1"/>
        </p:nvSpPr>
        <p:spPr>
          <a:xfrm>
            <a:off x="21240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7" name="Rectangle 46"/>
          <p:cNvSpPr/>
          <p:nvPr userDrawn="1"/>
        </p:nvSpPr>
        <p:spPr>
          <a:xfrm>
            <a:off x="37476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8" name="Rectangle 47"/>
          <p:cNvSpPr/>
          <p:nvPr userDrawn="1"/>
        </p:nvSpPr>
        <p:spPr>
          <a:xfrm>
            <a:off x="5377508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9" name="Rectangle 48"/>
          <p:cNvSpPr/>
          <p:nvPr userDrawn="1"/>
        </p:nvSpPr>
        <p:spPr>
          <a:xfrm>
            <a:off x="70056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0" name="Rectangle 49"/>
          <p:cNvSpPr/>
          <p:nvPr userDrawn="1"/>
        </p:nvSpPr>
        <p:spPr>
          <a:xfrm>
            <a:off x="8632800" y="3068960"/>
            <a:ext cx="1440000" cy="2952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3" name="Picture Placeholder 9"/>
          <p:cNvSpPr>
            <a:spLocks noGrp="1"/>
          </p:cNvSpPr>
          <p:nvPr>
            <p:ph type="pic" sz="quarter" idx="47"/>
          </p:nvPr>
        </p:nvSpPr>
        <p:spPr>
          <a:xfrm>
            <a:off x="8632800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9"/>
          <p:cNvSpPr>
            <a:spLocks noGrp="1"/>
          </p:cNvSpPr>
          <p:nvPr>
            <p:ph type="pic" sz="quarter" idx="48"/>
          </p:nvPr>
        </p:nvSpPr>
        <p:spPr>
          <a:xfrm>
            <a:off x="10274211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81013" y="1557338"/>
            <a:ext cx="1440000" cy="1511300"/>
          </a:xfrm>
          <a:custGeom>
            <a:avLst/>
            <a:gdLst/>
            <a:ahLst/>
            <a:cxnLst/>
            <a:rect l="l" t="t" r="r" b="b"/>
            <a:pathLst>
              <a:path w="1440110" h="1511300">
                <a:moveTo>
                  <a:pt x="359961" y="0"/>
                </a:moveTo>
                <a:lnTo>
                  <a:pt x="1440110" y="0"/>
                </a:lnTo>
                <a:lnTo>
                  <a:pt x="1440110" y="1511300"/>
                </a:lnTo>
                <a:lnTo>
                  <a:pt x="0" y="1511300"/>
                </a:lnTo>
                <a:lnTo>
                  <a:pt x="0" y="359961"/>
                </a:lnTo>
                <a:cubicBezTo>
                  <a:pt x="0" y="161160"/>
                  <a:pt x="161160" y="0"/>
                  <a:pt x="35996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9"/>
          <p:cNvSpPr>
            <a:spLocks noGrp="1"/>
          </p:cNvSpPr>
          <p:nvPr>
            <p:ph type="pic" sz="quarter" idx="42"/>
          </p:nvPr>
        </p:nvSpPr>
        <p:spPr>
          <a:xfrm>
            <a:off x="7005600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2124000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36"/>
          </p:nvPr>
        </p:nvSpPr>
        <p:spPr>
          <a:xfrm>
            <a:off x="3747600" y="3068960"/>
            <a:ext cx="1440000" cy="2952428"/>
          </a:xfrm>
          <a:noFill/>
        </p:spPr>
        <p:txBody>
          <a:bodyPr lIns="144000" tIns="108000" rIns="72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5377508" y="1557338"/>
            <a:ext cx="1440000" cy="1511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10"/>
          <p:cNvSpPr>
            <a:spLocks noGrp="1"/>
          </p:cNvSpPr>
          <p:nvPr>
            <p:ph type="pic" sz="quarter" idx="37"/>
          </p:nvPr>
        </p:nvSpPr>
        <p:spPr>
          <a:xfrm>
            <a:off x="3747600" y="1557338"/>
            <a:ext cx="144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10"/>
          <p:cNvSpPr>
            <a:spLocks noGrp="1"/>
          </p:cNvSpPr>
          <p:nvPr>
            <p:ph type="pic" sz="quarter" idx="38"/>
          </p:nvPr>
        </p:nvSpPr>
        <p:spPr>
          <a:xfrm>
            <a:off x="2124000" y="1557338"/>
            <a:ext cx="1440000" cy="15113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3" y="2804306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4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37476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5" name="Text Placeholder 34"/>
          <p:cNvSpPr>
            <a:spLocks noGrp="1"/>
          </p:cNvSpPr>
          <p:nvPr>
            <p:ph type="body" sz="quarter" idx="26" hasCustomPrompt="1"/>
          </p:nvPr>
        </p:nvSpPr>
        <p:spPr>
          <a:xfrm>
            <a:off x="21240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6" name="Text Placeholder 34"/>
          <p:cNvSpPr>
            <a:spLocks noGrp="1"/>
          </p:cNvSpPr>
          <p:nvPr>
            <p:ph type="body" sz="quarter" idx="27" hasCustomPrompt="1"/>
          </p:nvPr>
        </p:nvSpPr>
        <p:spPr>
          <a:xfrm>
            <a:off x="5377507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5377509" y="3068960"/>
            <a:ext cx="1440000" cy="2952428"/>
          </a:xfrm>
          <a:noFill/>
        </p:spPr>
        <p:txBody>
          <a:bodyPr lIns="144000" tIns="108000" rIns="72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8" name="Text Placeholder 34"/>
          <p:cNvSpPr>
            <a:spLocks noGrp="1"/>
          </p:cNvSpPr>
          <p:nvPr>
            <p:ph type="body" sz="quarter" idx="40" hasCustomPrompt="1"/>
          </p:nvPr>
        </p:nvSpPr>
        <p:spPr>
          <a:xfrm>
            <a:off x="70056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79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7005600" y="3068960"/>
            <a:ext cx="1440000" cy="2952428"/>
          </a:xfrm>
          <a:noFill/>
        </p:spPr>
        <p:txBody>
          <a:bodyPr lIns="144000" tIns="108000" rIns="72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0" name="Text Placeholder 34"/>
          <p:cNvSpPr>
            <a:spLocks noGrp="1"/>
          </p:cNvSpPr>
          <p:nvPr>
            <p:ph type="body" sz="quarter" idx="43" hasCustomPrompt="1"/>
          </p:nvPr>
        </p:nvSpPr>
        <p:spPr>
          <a:xfrm>
            <a:off x="8632800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81" name="Text Placeholder 34"/>
          <p:cNvSpPr>
            <a:spLocks noGrp="1"/>
          </p:cNvSpPr>
          <p:nvPr>
            <p:ph type="body" sz="quarter" idx="44" hasCustomPrompt="1"/>
          </p:nvPr>
        </p:nvSpPr>
        <p:spPr>
          <a:xfrm>
            <a:off x="10274211" y="2804301"/>
            <a:ext cx="1440000" cy="264349"/>
          </a:xfrm>
          <a:solidFill>
            <a:srgbClr val="50B948">
              <a:alpha val="69804"/>
            </a:srgbClr>
          </a:solidFill>
        </p:spPr>
        <p:txBody>
          <a:bodyPr wrap="square" lIns="72000" tIns="54000" rIns="72000" bIns="4320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icture text</a:t>
            </a:r>
          </a:p>
        </p:txBody>
      </p:sp>
      <p:sp>
        <p:nvSpPr>
          <p:cNvPr id="82" name="Text Placeholder 6"/>
          <p:cNvSpPr>
            <a:spLocks noGrp="1"/>
          </p:cNvSpPr>
          <p:nvPr>
            <p:ph type="body" sz="quarter" idx="45"/>
          </p:nvPr>
        </p:nvSpPr>
        <p:spPr>
          <a:xfrm>
            <a:off x="8632800" y="3068960"/>
            <a:ext cx="1440000" cy="2952428"/>
          </a:xfrm>
          <a:noFill/>
        </p:spPr>
        <p:txBody>
          <a:bodyPr lIns="144000" tIns="108000" rIns="144000" bIns="108000"/>
          <a:lstStyle>
            <a:lvl1pPr marL="92075" indent="-92075">
              <a:spcBef>
                <a:spcPts val="200"/>
              </a:spcBef>
              <a:spcAft>
                <a:spcPts val="0"/>
              </a:spcAft>
              <a:defRPr sz="1200"/>
            </a:lvl1pPr>
            <a:lvl2pPr marL="182563" indent="-90488">
              <a:spcBef>
                <a:spcPts val="200"/>
              </a:spcBef>
              <a:spcAft>
                <a:spcPts val="0"/>
              </a:spcAft>
              <a:defRPr sz="1200"/>
            </a:lvl2pPr>
            <a:lvl3pPr marL="539750" indent="-182563">
              <a:spcBef>
                <a:spcPts val="200"/>
              </a:spcBef>
              <a:spcAft>
                <a:spcPts val="0"/>
              </a:spcAft>
              <a:defRPr sz="1000"/>
            </a:lvl3pPr>
            <a:lvl4pPr marL="714375" indent="-174625">
              <a:spcBef>
                <a:spcPts val="200"/>
              </a:spcBef>
              <a:spcAft>
                <a:spcPts val="0"/>
              </a:spcAft>
              <a:defRPr sz="1000"/>
            </a:lvl4pPr>
            <a:lvl5pPr marL="898525" indent="-184150">
              <a:spcBef>
                <a:spcPts val="200"/>
              </a:spcBef>
              <a:spcAft>
                <a:spcPts val="0"/>
              </a:spcAft>
              <a:defRPr sz="1000"/>
            </a:lvl5pPr>
            <a:lvl6pPr marL="1071563" indent="-173038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6pPr>
            <a:lvl7pPr marL="1255713" indent="-184150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7pPr>
            <a:lvl8pPr marL="1438275" indent="-182563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8pPr>
            <a:lvl9pPr marL="1612900" indent="-174625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8063711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33ED1-8D13-40CE-A2EC-C55F8E73C2FF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01323216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08314-EFA8-489B-B67C-B4AA142A3DC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69596" y="6453337"/>
            <a:ext cx="3481312" cy="144018"/>
          </a:xfrm>
        </p:spPr>
        <p:txBody>
          <a:bodyPr wrap="square" tIns="0" bIns="1800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480382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87" y="2636912"/>
            <a:ext cx="4737402" cy="1584176"/>
          </a:xfrm>
          <a:prstGeom prst="rect">
            <a:avLst/>
          </a:prstGeom>
        </p:spPr>
      </p:pic>
      <p:sp>
        <p:nvSpPr>
          <p:cNvPr id="2" name="t_confidentiality"/>
          <p:cNvSpPr/>
          <p:nvPr userDrawn="1"/>
        </p:nvSpPr>
        <p:spPr>
          <a:xfrm>
            <a:off x="9626219" y="116632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63491611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.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150" y="2636912"/>
            <a:ext cx="4736875" cy="1584000"/>
          </a:xfrm>
          <a:prstGeom prst="rect">
            <a:avLst/>
          </a:prstGeom>
        </p:spPr>
      </p:pic>
      <p:sp>
        <p:nvSpPr>
          <p:cNvPr id="3" name="t_confidentiality"/>
          <p:cNvSpPr/>
          <p:nvPr userDrawn="1"/>
        </p:nvSpPr>
        <p:spPr>
          <a:xfrm>
            <a:off x="9626219" y="116632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05775860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218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77371-58C1-4966-BFA7-FF4DC7081D6A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solidFill>
                  <a:schemeClr val="tx2"/>
                </a:solidFill>
              </a:defRPr>
            </a:lvl1pPr>
            <a:lvl2pPr marL="266700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806450" indent="0">
              <a:buFontTx/>
              <a:buNone/>
              <a:defRPr/>
            </a:lvl4pPr>
            <a:lvl5pPr marL="1071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EE7AFCC6-740C-4A77-BE51-F32D2E3ED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82137" y="1557338"/>
            <a:ext cx="2232025" cy="4464050"/>
          </a:xfrm>
          <a:prstGeom prst="round2DiagRect">
            <a:avLst>
              <a:gd name="adj1" fmla="val 16014"/>
              <a:gd name="adj2" fmla="val 0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081A6FE-804F-42D2-927A-3D41238BB1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3" y="1557338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9CB5E3F-6A70-470D-AB82-A75F489A90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9586" y="1557001"/>
            <a:ext cx="8064001" cy="43199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7D239508-A4D4-451A-80CC-3681230AF4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013" y="213242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4895945-AF5A-48F9-882B-C95FCDAB9D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29586" y="2132090"/>
            <a:ext cx="806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414AA12A-EDA6-474E-890A-C6EDFEC6D7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013" y="270842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36388D6-EA7A-4CBD-94AF-955FD31889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29586" y="2708090"/>
            <a:ext cx="806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295FFA60-586E-4A95-93E4-533796A98B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013" y="3285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756D8C47-7E31-4382-A6E8-F0493D2D89A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29586" y="3285000"/>
            <a:ext cx="806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3881AB3-A0D2-4100-9A93-D9D13676CC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013" y="3861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0AF06B8F-FDBB-4698-A4AF-F574673CDB9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29586" y="3861000"/>
            <a:ext cx="8064001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1F5303BA-2AC1-45B6-928E-9E622BB2DA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587" y="4436427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EF217D-2344-4897-8815-1A4B74D907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30162" y="4436090"/>
            <a:ext cx="8063562" cy="43199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8450CCB6-FE41-4E22-8355-8DE5506946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587" y="5013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6DB44EDB-DDEC-4E82-8974-F1BFF0D8407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30162" y="5013000"/>
            <a:ext cx="8063562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1196AC9E-77DF-4CC3-AFD8-D8E13E08E2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587" y="5589336"/>
            <a:ext cx="432574" cy="432574"/>
          </a:xfrm>
          <a:prstGeom prst="round2DiagRect">
            <a:avLst/>
          </a:prstGeom>
          <a:solidFill>
            <a:schemeClr val="accent1"/>
          </a:solidFill>
        </p:spPr>
        <p:txBody>
          <a:bodyPr wrap="none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B1F2772-A2BB-4F65-94A0-67CC6388128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30162" y="5589000"/>
            <a:ext cx="8063562" cy="43200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/>
            </a:lvl1pPr>
            <a:lvl2pPr marL="273050" indent="-273050">
              <a:buFont typeface="Wingdings" panose="05000000000000000000" pitchFamily="2" charset="2"/>
              <a:buChar char=""/>
              <a:defRPr/>
            </a:lvl2pPr>
            <a:lvl3pPr marL="544513" indent="-266700">
              <a:buFont typeface="Arial" panose="020B0604020202020204" pitchFamily="34" charset="0"/>
              <a:buChar char="–"/>
              <a:defRPr sz="1400"/>
            </a:lvl3pPr>
            <a:lvl4pPr marL="803275" indent="-261938" defTabSz="803275">
              <a:buFont typeface="Wingdings" panose="05000000000000000000" pitchFamily="2" charset="2"/>
              <a:buChar char=""/>
              <a:tabLst/>
              <a:defRPr sz="1200"/>
            </a:lvl4pPr>
            <a:lvl5pPr marL="1076325" indent="-274638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/>
            </a:lvl5pPr>
            <a:lvl6pPr marL="1343025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6pPr>
            <a:lvl7pPr marL="1617663" indent="-274638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7pPr>
            <a:lvl8pPr marL="1884363" indent="-269875" defTabSz="969963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8pPr>
            <a:lvl9pPr marL="2154238" indent="-269875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518533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4701" y="2708275"/>
            <a:ext cx="7129462" cy="1441450"/>
          </a:xfrm>
        </p:spPr>
        <p:txBody>
          <a:bodyPr anchor="ctr" anchorCtr="0"/>
          <a:lstStyle>
            <a:lvl1pPr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Freeform 6"/>
          <p:cNvSpPr>
            <a:spLocks/>
          </p:cNvSpPr>
          <p:nvPr userDrawn="1"/>
        </p:nvSpPr>
        <p:spPr bwMode="auto">
          <a:xfrm>
            <a:off x="0" y="119063"/>
            <a:ext cx="3517900" cy="3233738"/>
          </a:xfrm>
          <a:custGeom>
            <a:avLst/>
            <a:gdLst>
              <a:gd name="T0" fmla="*/ 0 w 2216"/>
              <a:gd name="T1" fmla="*/ 1158 h 2037"/>
              <a:gd name="T2" fmla="*/ 0 w 2216"/>
              <a:gd name="T3" fmla="*/ 578 h 2037"/>
              <a:gd name="T4" fmla="*/ 0 w 2216"/>
              <a:gd name="T5" fmla="*/ 0 h 2037"/>
              <a:gd name="T6" fmla="*/ 18 w 2216"/>
              <a:gd name="T7" fmla="*/ 2 h 2037"/>
              <a:gd name="T8" fmla="*/ 35 w 2216"/>
              <a:gd name="T9" fmla="*/ 3 h 2037"/>
              <a:gd name="T10" fmla="*/ 51 w 2216"/>
              <a:gd name="T11" fmla="*/ 5 h 2037"/>
              <a:gd name="T12" fmla="*/ 68 w 2216"/>
              <a:gd name="T13" fmla="*/ 9 h 2037"/>
              <a:gd name="T14" fmla="*/ 84 w 2216"/>
              <a:gd name="T15" fmla="*/ 12 h 2037"/>
              <a:gd name="T16" fmla="*/ 99 w 2216"/>
              <a:gd name="T17" fmla="*/ 16 h 2037"/>
              <a:gd name="T18" fmla="*/ 115 w 2216"/>
              <a:gd name="T19" fmla="*/ 21 h 2037"/>
              <a:gd name="T20" fmla="*/ 130 w 2216"/>
              <a:gd name="T21" fmla="*/ 26 h 2037"/>
              <a:gd name="T22" fmla="*/ 159 w 2216"/>
              <a:gd name="T23" fmla="*/ 36 h 2037"/>
              <a:gd name="T24" fmla="*/ 185 w 2216"/>
              <a:gd name="T25" fmla="*/ 49 h 2037"/>
              <a:gd name="T26" fmla="*/ 211 w 2216"/>
              <a:gd name="T27" fmla="*/ 63 h 2037"/>
              <a:gd name="T28" fmla="*/ 233 w 2216"/>
              <a:gd name="T29" fmla="*/ 76 h 2037"/>
              <a:gd name="T30" fmla="*/ 254 w 2216"/>
              <a:gd name="T31" fmla="*/ 89 h 2037"/>
              <a:gd name="T32" fmla="*/ 273 w 2216"/>
              <a:gd name="T33" fmla="*/ 101 h 2037"/>
              <a:gd name="T34" fmla="*/ 301 w 2216"/>
              <a:gd name="T35" fmla="*/ 124 h 2037"/>
              <a:gd name="T36" fmla="*/ 312 w 2216"/>
              <a:gd name="T37" fmla="*/ 133 h 2037"/>
              <a:gd name="T38" fmla="*/ 319 w 2216"/>
              <a:gd name="T39" fmla="*/ 139 h 2037"/>
              <a:gd name="T40" fmla="*/ 327 w 2216"/>
              <a:gd name="T41" fmla="*/ 145 h 2037"/>
              <a:gd name="T42" fmla="*/ 1271 w 2216"/>
              <a:gd name="T43" fmla="*/ 1091 h 2037"/>
              <a:gd name="T44" fmla="*/ 2216 w 2216"/>
              <a:gd name="T45" fmla="*/ 2037 h 2037"/>
              <a:gd name="T46" fmla="*/ 1548 w 2216"/>
              <a:gd name="T47" fmla="*/ 2037 h 2037"/>
              <a:gd name="T48" fmla="*/ 879 w 2216"/>
              <a:gd name="T49" fmla="*/ 2037 h 2037"/>
              <a:gd name="T50" fmla="*/ 0 w 2216"/>
              <a:gd name="T51" fmla="*/ 1158 h 2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16" h="2037">
                <a:moveTo>
                  <a:pt x="0" y="1158"/>
                </a:moveTo>
                <a:lnTo>
                  <a:pt x="0" y="578"/>
                </a:lnTo>
                <a:lnTo>
                  <a:pt x="0" y="0"/>
                </a:lnTo>
                <a:lnTo>
                  <a:pt x="18" y="2"/>
                </a:lnTo>
                <a:lnTo>
                  <a:pt x="35" y="3"/>
                </a:lnTo>
                <a:lnTo>
                  <a:pt x="51" y="5"/>
                </a:lnTo>
                <a:lnTo>
                  <a:pt x="68" y="9"/>
                </a:lnTo>
                <a:lnTo>
                  <a:pt x="84" y="12"/>
                </a:lnTo>
                <a:lnTo>
                  <a:pt x="99" y="16"/>
                </a:lnTo>
                <a:lnTo>
                  <a:pt x="115" y="21"/>
                </a:lnTo>
                <a:lnTo>
                  <a:pt x="130" y="26"/>
                </a:lnTo>
                <a:lnTo>
                  <a:pt x="159" y="36"/>
                </a:lnTo>
                <a:lnTo>
                  <a:pt x="185" y="49"/>
                </a:lnTo>
                <a:lnTo>
                  <a:pt x="211" y="63"/>
                </a:lnTo>
                <a:lnTo>
                  <a:pt x="233" y="76"/>
                </a:lnTo>
                <a:lnTo>
                  <a:pt x="254" y="89"/>
                </a:lnTo>
                <a:lnTo>
                  <a:pt x="273" y="101"/>
                </a:lnTo>
                <a:lnTo>
                  <a:pt x="301" y="124"/>
                </a:lnTo>
                <a:lnTo>
                  <a:pt x="312" y="133"/>
                </a:lnTo>
                <a:lnTo>
                  <a:pt x="319" y="139"/>
                </a:lnTo>
                <a:lnTo>
                  <a:pt x="327" y="145"/>
                </a:lnTo>
                <a:lnTo>
                  <a:pt x="1271" y="1091"/>
                </a:lnTo>
                <a:lnTo>
                  <a:pt x="2216" y="2037"/>
                </a:lnTo>
                <a:lnTo>
                  <a:pt x="1548" y="2037"/>
                </a:lnTo>
                <a:lnTo>
                  <a:pt x="879" y="2037"/>
                </a:lnTo>
                <a:lnTo>
                  <a:pt x="0" y="115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6" name="Freeform 7"/>
          <p:cNvSpPr>
            <a:spLocks/>
          </p:cNvSpPr>
          <p:nvPr userDrawn="1"/>
        </p:nvSpPr>
        <p:spPr bwMode="auto">
          <a:xfrm>
            <a:off x="0" y="3508376"/>
            <a:ext cx="3517900" cy="3233738"/>
          </a:xfrm>
          <a:custGeom>
            <a:avLst/>
            <a:gdLst>
              <a:gd name="T0" fmla="*/ 879 w 2216"/>
              <a:gd name="T1" fmla="*/ 0 h 2037"/>
              <a:gd name="T2" fmla="*/ 1548 w 2216"/>
              <a:gd name="T3" fmla="*/ 0 h 2037"/>
              <a:gd name="T4" fmla="*/ 2216 w 2216"/>
              <a:gd name="T5" fmla="*/ 0 h 2037"/>
              <a:gd name="T6" fmla="*/ 1271 w 2216"/>
              <a:gd name="T7" fmla="*/ 946 h 2037"/>
              <a:gd name="T8" fmla="*/ 327 w 2216"/>
              <a:gd name="T9" fmla="*/ 1892 h 2037"/>
              <a:gd name="T10" fmla="*/ 319 w 2216"/>
              <a:gd name="T11" fmla="*/ 1898 h 2037"/>
              <a:gd name="T12" fmla="*/ 312 w 2216"/>
              <a:gd name="T13" fmla="*/ 1905 h 2037"/>
              <a:gd name="T14" fmla="*/ 301 w 2216"/>
              <a:gd name="T15" fmla="*/ 1914 h 2037"/>
              <a:gd name="T16" fmla="*/ 288 w 2216"/>
              <a:gd name="T17" fmla="*/ 1925 h 2037"/>
              <a:gd name="T18" fmla="*/ 273 w 2216"/>
              <a:gd name="T19" fmla="*/ 1936 h 2037"/>
              <a:gd name="T20" fmla="*/ 254 w 2216"/>
              <a:gd name="T21" fmla="*/ 1948 h 2037"/>
              <a:gd name="T22" fmla="*/ 233 w 2216"/>
              <a:gd name="T23" fmla="*/ 1962 h 2037"/>
              <a:gd name="T24" fmla="*/ 211 w 2216"/>
              <a:gd name="T25" fmla="*/ 1976 h 2037"/>
              <a:gd name="T26" fmla="*/ 185 w 2216"/>
              <a:gd name="T27" fmla="*/ 1988 h 2037"/>
              <a:gd name="T28" fmla="*/ 159 w 2216"/>
              <a:gd name="T29" fmla="*/ 2001 h 2037"/>
              <a:gd name="T30" fmla="*/ 145 w 2216"/>
              <a:gd name="T31" fmla="*/ 2006 h 2037"/>
              <a:gd name="T32" fmla="*/ 130 w 2216"/>
              <a:gd name="T33" fmla="*/ 2012 h 2037"/>
              <a:gd name="T34" fmla="*/ 115 w 2216"/>
              <a:gd name="T35" fmla="*/ 2017 h 2037"/>
              <a:gd name="T36" fmla="*/ 99 w 2216"/>
              <a:gd name="T37" fmla="*/ 2021 h 2037"/>
              <a:gd name="T38" fmla="*/ 84 w 2216"/>
              <a:gd name="T39" fmla="*/ 2025 h 2037"/>
              <a:gd name="T40" fmla="*/ 68 w 2216"/>
              <a:gd name="T41" fmla="*/ 2029 h 2037"/>
              <a:gd name="T42" fmla="*/ 51 w 2216"/>
              <a:gd name="T43" fmla="*/ 2032 h 2037"/>
              <a:gd name="T44" fmla="*/ 35 w 2216"/>
              <a:gd name="T45" fmla="*/ 2035 h 2037"/>
              <a:gd name="T46" fmla="*/ 18 w 2216"/>
              <a:gd name="T47" fmla="*/ 2036 h 2037"/>
              <a:gd name="T48" fmla="*/ 0 w 2216"/>
              <a:gd name="T49" fmla="*/ 2037 h 2037"/>
              <a:gd name="T50" fmla="*/ 0 w 2216"/>
              <a:gd name="T51" fmla="*/ 1458 h 2037"/>
              <a:gd name="T52" fmla="*/ 0 w 2216"/>
              <a:gd name="T53" fmla="*/ 880 h 2037"/>
              <a:gd name="T54" fmla="*/ 879 w 2216"/>
              <a:gd name="T55" fmla="*/ 0 h 2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16" h="2037">
                <a:moveTo>
                  <a:pt x="879" y="0"/>
                </a:moveTo>
                <a:lnTo>
                  <a:pt x="1548" y="0"/>
                </a:lnTo>
                <a:lnTo>
                  <a:pt x="2216" y="0"/>
                </a:lnTo>
                <a:lnTo>
                  <a:pt x="1271" y="946"/>
                </a:lnTo>
                <a:lnTo>
                  <a:pt x="327" y="1892"/>
                </a:lnTo>
                <a:lnTo>
                  <a:pt x="319" y="1898"/>
                </a:lnTo>
                <a:lnTo>
                  <a:pt x="312" y="1905"/>
                </a:lnTo>
                <a:lnTo>
                  <a:pt x="301" y="1914"/>
                </a:lnTo>
                <a:lnTo>
                  <a:pt x="288" y="1925"/>
                </a:lnTo>
                <a:lnTo>
                  <a:pt x="273" y="1936"/>
                </a:lnTo>
                <a:lnTo>
                  <a:pt x="254" y="1948"/>
                </a:lnTo>
                <a:lnTo>
                  <a:pt x="233" y="1962"/>
                </a:lnTo>
                <a:lnTo>
                  <a:pt x="211" y="1976"/>
                </a:lnTo>
                <a:lnTo>
                  <a:pt x="185" y="1988"/>
                </a:lnTo>
                <a:lnTo>
                  <a:pt x="159" y="2001"/>
                </a:lnTo>
                <a:lnTo>
                  <a:pt x="145" y="2006"/>
                </a:lnTo>
                <a:lnTo>
                  <a:pt x="130" y="2012"/>
                </a:lnTo>
                <a:lnTo>
                  <a:pt x="115" y="2017"/>
                </a:lnTo>
                <a:lnTo>
                  <a:pt x="99" y="2021"/>
                </a:lnTo>
                <a:lnTo>
                  <a:pt x="84" y="2025"/>
                </a:lnTo>
                <a:lnTo>
                  <a:pt x="68" y="2029"/>
                </a:lnTo>
                <a:lnTo>
                  <a:pt x="51" y="2032"/>
                </a:lnTo>
                <a:lnTo>
                  <a:pt x="35" y="2035"/>
                </a:lnTo>
                <a:lnTo>
                  <a:pt x="18" y="2036"/>
                </a:lnTo>
                <a:lnTo>
                  <a:pt x="0" y="2037"/>
                </a:lnTo>
                <a:lnTo>
                  <a:pt x="0" y="1458"/>
                </a:lnTo>
                <a:lnTo>
                  <a:pt x="0" y="880"/>
                </a:lnTo>
                <a:lnTo>
                  <a:pt x="879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43248810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4701" y="1916113"/>
            <a:ext cx="7129462" cy="1441450"/>
          </a:xfrm>
        </p:spPr>
        <p:txBody>
          <a:bodyPr anchor="b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4701" y="3500438"/>
            <a:ext cx="7129462" cy="21383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0" y="119063"/>
            <a:ext cx="3517900" cy="3233738"/>
          </a:xfrm>
          <a:custGeom>
            <a:avLst/>
            <a:gdLst>
              <a:gd name="T0" fmla="*/ 0 w 2216"/>
              <a:gd name="T1" fmla="*/ 1158 h 2037"/>
              <a:gd name="T2" fmla="*/ 0 w 2216"/>
              <a:gd name="T3" fmla="*/ 578 h 2037"/>
              <a:gd name="T4" fmla="*/ 0 w 2216"/>
              <a:gd name="T5" fmla="*/ 0 h 2037"/>
              <a:gd name="T6" fmla="*/ 18 w 2216"/>
              <a:gd name="T7" fmla="*/ 2 h 2037"/>
              <a:gd name="T8" fmla="*/ 35 w 2216"/>
              <a:gd name="T9" fmla="*/ 3 h 2037"/>
              <a:gd name="T10" fmla="*/ 51 w 2216"/>
              <a:gd name="T11" fmla="*/ 5 h 2037"/>
              <a:gd name="T12" fmla="*/ 68 w 2216"/>
              <a:gd name="T13" fmla="*/ 9 h 2037"/>
              <a:gd name="T14" fmla="*/ 84 w 2216"/>
              <a:gd name="T15" fmla="*/ 12 h 2037"/>
              <a:gd name="T16" fmla="*/ 99 w 2216"/>
              <a:gd name="T17" fmla="*/ 16 h 2037"/>
              <a:gd name="T18" fmla="*/ 115 w 2216"/>
              <a:gd name="T19" fmla="*/ 21 h 2037"/>
              <a:gd name="T20" fmla="*/ 130 w 2216"/>
              <a:gd name="T21" fmla="*/ 26 h 2037"/>
              <a:gd name="T22" fmla="*/ 159 w 2216"/>
              <a:gd name="T23" fmla="*/ 36 h 2037"/>
              <a:gd name="T24" fmla="*/ 185 w 2216"/>
              <a:gd name="T25" fmla="*/ 49 h 2037"/>
              <a:gd name="T26" fmla="*/ 211 w 2216"/>
              <a:gd name="T27" fmla="*/ 63 h 2037"/>
              <a:gd name="T28" fmla="*/ 233 w 2216"/>
              <a:gd name="T29" fmla="*/ 76 h 2037"/>
              <a:gd name="T30" fmla="*/ 254 w 2216"/>
              <a:gd name="T31" fmla="*/ 89 h 2037"/>
              <a:gd name="T32" fmla="*/ 273 w 2216"/>
              <a:gd name="T33" fmla="*/ 101 h 2037"/>
              <a:gd name="T34" fmla="*/ 301 w 2216"/>
              <a:gd name="T35" fmla="*/ 124 h 2037"/>
              <a:gd name="T36" fmla="*/ 312 w 2216"/>
              <a:gd name="T37" fmla="*/ 133 h 2037"/>
              <a:gd name="T38" fmla="*/ 319 w 2216"/>
              <a:gd name="T39" fmla="*/ 139 h 2037"/>
              <a:gd name="T40" fmla="*/ 327 w 2216"/>
              <a:gd name="T41" fmla="*/ 145 h 2037"/>
              <a:gd name="T42" fmla="*/ 1271 w 2216"/>
              <a:gd name="T43" fmla="*/ 1091 h 2037"/>
              <a:gd name="T44" fmla="*/ 2216 w 2216"/>
              <a:gd name="T45" fmla="*/ 2037 h 2037"/>
              <a:gd name="T46" fmla="*/ 1548 w 2216"/>
              <a:gd name="T47" fmla="*/ 2037 h 2037"/>
              <a:gd name="T48" fmla="*/ 879 w 2216"/>
              <a:gd name="T49" fmla="*/ 2037 h 2037"/>
              <a:gd name="T50" fmla="*/ 0 w 2216"/>
              <a:gd name="T51" fmla="*/ 1158 h 2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16" h="2037">
                <a:moveTo>
                  <a:pt x="0" y="1158"/>
                </a:moveTo>
                <a:lnTo>
                  <a:pt x="0" y="578"/>
                </a:lnTo>
                <a:lnTo>
                  <a:pt x="0" y="0"/>
                </a:lnTo>
                <a:lnTo>
                  <a:pt x="18" y="2"/>
                </a:lnTo>
                <a:lnTo>
                  <a:pt x="35" y="3"/>
                </a:lnTo>
                <a:lnTo>
                  <a:pt x="51" y="5"/>
                </a:lnTo>
                <a:lnTo>
                  <a:pt x="68" y="9"/>
                </a:lnTo>
                <a:lnTo>
                  <a:pt x="84" y="12"/>
                </a:lnTo>
                <a:lnTo>
                  <a:pt x="99" y="16"/>
                </a:lnTo>
                <a:lnTo>
                  <a:pt x="115" y="21"/>
                </a:lnTo>
                <a:lnTo>
                  <a:pt x="130" y="26"/>
                </a:lnTo>
                <a:lnTo>
                  <a:pt x="159" y="36"/>
                </a:lnTo>
                <a:lnTo>
                  <a:pt x="185" y="49"/>
                </a:lnTo>
                <a:lnTo>
                  <a:pt x="211" y="63"/>
                </a:lnTo>
                <a:lnTo>
                  <a:pt x="233" y="76"/>
                </a:lnTo>
                <a:lnTo>
                  <a:pt x="254" y="89"/>
                </a:lnTo>
                <a:lnTo>
                  <a:pt x="273" y="101"/>
                </a:lnTo>
                <a:lnTo>
                  <a:pt x="301" y="124"/>
                </a:lnTo>
                <a:lnTo>
                  <a:pt x="312" y="133"/>
                </a:lnTo>
                <a:lnTo>
                  <a:pt x="319" y="139"/>
                </a:lnTo>
                <a:lnTo>
                  <a:pt x="327" y="145"/>
                </a:lnTo>
                <a:lnTo>
                  <a:pt x="1271" y="1091"/>
                </a:lnTo>
                <a:lnTo>
                  <a:pt x="2216" y="2037"/>
                </a:lnTo>
                <a:lnTo>
                  <a:pt x="1548" y="2037"/>
                </a:lnTo>
                <a:lnTo>
                  <a:pt x="879" y="2037"/>
                </a:lnTo>
                <a:lnTo>
                  <a:pt x="0" y="11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0" y="3508376"/>
            <a:ext cx="3517900" cy="3233738"/>
          </a:xfrm>
          <a:custGeom>
            <a:avLst/>
            <a:gdLst>
              <a:gd name="T0" fmla="*/ 879 w 2216"/>
              <a:gd name="T1" fmla="*/ 0 h 2037"/>
              <a:gd name="T2" fmla="*/ 1548 w 2216"/>
              <a:gd name="T3" fmla="*/ 0 h 2037"/>
              <a:gd name="T4" fmla="*/ 2216 w 2216"/>
              <a:gd name="T5" fmla="*/ 0 h 2037"/>
              <a:gd name="T6" fmla="*/ 1271 w 2216"/>
              <a:gd name="T7" fmla="*/ 946 h 2037"/>
              <a:gd name="T8" fmla="*/ 327 w 2216"/>
              <a:gd name="T9" fmla="*/ 1892 h 2037"/>
              <a:gd name="T10" fmla="*/ 319 w 2216"/>
              <a:gd name="T11" fmla="*/ 1898 h 2037"/>
              <a:gd name="T12" fmla="*/ 312 w 2216"/>
              <a:gd name="T13" fmla="*/ 1905 h 2037"/>
              <a:gd name="T14" fmla="*/ 301 w 2216"/>
              <a:gd name="T15" fmla="*/ 1914 h 2037"/>
              <a:gd name="T16" fmla="*/ 288 w 2216"/>
              <a:gd name="T17" fmla="*/ 1925 h 2037"/>
              <a:gd name="T18" fmla="*/ 273 w 2216"/>
              <a:gd name="T19" fmla="*/ 1936 h 2037"/>
              <a:gd name="T20" fmla="*/ 254 w 2216"/>
              <a:gd name="T21" fmla="*/ 1948 h 2037"/>
              <a:gd name="T22" fmla="*/ 233 w 2216"/>
              <a:gd name="T23" fmla="*/ 1962 h 2037"/>
              <a:gd name="T24" fmla="*/ 211 w 2216"/>
              <a:gd name="T25" fmla="*/ 1976 h 2037"/>
              <a:gd name="T26" fmla="*/ 185 w 2216"/>
              <a:gd name="T27" fmla="*/ 1988 h 2037"/>
              <a:gd name="T28" fmla="*/ 159 w 2216"/>
              <a:gd name="T29" fmla="*/ 2001 h 2037"/>
              <a:gd name="T30" fmla="*/ 145 w 2216"/>
              <a:gd name="T31" fmla="*/ 2006 h 2037"/>
              <a:gd name="T32" fmla="*/ 130 w 2216"/>
              <a:gd name="T33" fmla="*/ 2012 h 2037"/>
              <a:gd name="T34" fmla="*/ 115 w 2216"/>
              <a:gd name="T35" fmla="*/ 2017 h 2037"/>
              <a:gd name="T36" fmla="*/ 99 w 2216"/>
              <a:gd name="T37" fmla="*/ 2021 h 2037"/>
              <a:gd name="T38" fmla="*/ 84 w 2216"/>
              <a:gd name="T39" fmla="*/ 2025 h 2037"/>
              <a:gd name="T40" fmla="*/ 68 w 2216"/>
              <a:gd name="T41" fmla="*/ 2029 h 2037"/>
              <a:gd name="T42" fmla="*/ 51 w 2216"/>
              <a:gd name="T43" fmla="*/ 2032 h 2037"/>
              <a:gd name="T44" fmla="*/ 35 w 2216"/>
              <a:gd name="T45" fmla="*/ 2035 h 2037"/>
              <a:gd name="T46" fmla="*/ 18 w 2216"/>
              <a:gd name="T47" fmla="*/ 2036 h 2037"/>
              <a:gd name="T48" fmla="*/ 0 w 2216"/>
              <a:gd name="T49" fmla="*/ 2037 h 2037"/>
              <a:gd name="T50" fmla="*/ 0 w 2216"/>
              <a:gd name="T51" fmla="*/ 1458 h 2037"/>
              <a:gd name="T52" fmla="*/ 0 w 2216"/>
              <a:gd name="T53" fmla="*/ 880 h 2037"/>
              <a:gd name="T54" fmla="*/ 879 w 2216"/>
              <a:gd name="T55" fmla="*/ 0 h 2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16" h="2037">
                <a:moveTo>
                  <a:pt x="879" y="0"/>
                </a:moveTo>
                <a:lnTo>
                  <a:pt x="1548" y="0"/>
                </a:lnTo>
                <a:lnTo>
                  <a:pt x="2216" y="0"/>
                </a:lnTo>
                <a:lnTo>
                  <a:pt x="1271" y="946"/>
                </a:lnTo>
                <a:lnTo>
                  <a:pt x="327" y="1892"/>
                </a:lnTo>
                <a:lnTo>
                  <a:pt x="319" y="1898"/>
                </a:lnTo>
                <a:lnTo>
                  <a:pt x="312" y="1905"/>
                </a:lnTo>
                <a:lnTo>
                  <a:pt x="301" y="1914"/>
                </a:lnTo>
                <a:lnTo>
                  <a:pt x="288" y="1925"/>
                </a:lnTo>
                <a:lnTo>
                  <a:pt x="273" y="1936"/>
                </a:lnTo>
                <a:lnTo>
                  <a:pt x="254" y="1948"/>
                </a:lnTo>
                <a:lnTo>
                  <a:pt x="233" y="1962"/>
                </a:lnTo>
                <a:lnTo>
                  <a:pt x="211" y="1976"/>
                </a:lnTo>
                <a:lnTo>
                  <a:pt x="185" y="1988"/>
                </a:lnTo>
                <a:lnTo>
                  <a:pt x="159" y="2001"/>
                </a:lnTo>
                <a:lnTo>
                  <a:pt x="145" y="2006"/>
                </a:lnTo>
                <a:lnTo>
                  <a:pt x="130" y="2012"/>
                </a:lnTo>
                <a:lnTo>
                  <a:pt x="115" y="2017"/>
                </a:lnTo>
                <a:lnTo>
                  <a:pt x="99" y="2021"/>
                </a:lnTo>
                <a:lnTo>
                  <a:pt x="84" y="2025"/>
                </a:lnTo>
                <a:lnTo>
                  <a:pt x="68" y="2029"/>
                </a:lnTo>
                <a:lnTo>
                  <a:pt x="51" y="2032"/>
                </a:lnTo>
                <a:lnTo>
                  <a:pt x="35" y="2035"/>
                </a:lnTo>
                <a:lnTo>
                  <a:pt x="18" y="2036"/>
                </a:lnTo>
                <a:lnTo>
                  <a:pt x="0" y="2037"/>
                </a:lnTo>
                <a:lnTo>
                  <a:pt x="0" y="1458"/>
                </a:lnTo>
                <a:lnTo>
                  <a:pt x="0" y="880"/>
                </a:lnTo>
                <a:lnTo>
                  <a:pt x="87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751" y="6237312"/>
            <a:ext cx="1291874" cy="431999"/>
          </a:xfrm>
          <a:prstGeom prst="rect">
            <a:avLst/>
          </a:prstGeom>
        </p:spPr>
      </p:pic>
      <p:sp>
        <p:nvSpPr>
          <p:cNvPr id="4" name="t_confidentiality"/>
          <p:cNvSpPr/>
          <p:nvPr userDrawn="1"/>
        </p:nvSpPr>
        <p:spPr>
          <a:xfrm>
            <a:off x="9626219" y="116632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434212124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858000"/>
          </a:xfrm>
          <a:solidFill>
            <a:schemeClr val="bg2"/>
          </a:solidFill>
        </p:spPr>
        <p:txBody>
          <a:bodyPr anchor="t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Select shape and click insert picture from menu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18800"/>
            <a:ext cx="3517200" cy="323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 baseline="0">
                <a:noFill/>
              </a:defRPr>
            </a:lvl1pPr>
          </a:lstStyle>
          <a:p>
            <a:pPr lvl="0"/>
            <a:r>
              <a:rPr lang="en-US"/>
              <a:t>Do not add text her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510000"/>
            <a:ext cx="3517200" cy="323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 baseline="0">
                <a:noFill/>
              </a:defRPr>
            </a:lvl1pPr>
          </a:lstStyle>
          <a:p>
            <a:pPr lvl="0"/>
            <a:r>
              <a:rPr lang="en-US"/>
              <a:t>Do not add text here</a:t>
            </a:r>
          </a:p>
        </p:txBody>
      </p:sp>
      <p:sp>
        <p:nvSpPr>
          <p:cNvPr id="2" name="t_confidentiality"/>
          <p:cNvSpPr/>
          <p:nvPr userDrawn="1"/>
        </p:nvSpPr>
        <p:spPr>
          <a:xfrm>
            <a:off x="9626219" y="116632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584701" y="1556792"/>
            <a:ext cx="7129462" cy="3744416"/>
          </a:xfrm>
          <a:prstGeom prst="round2DiagRect">
            <a:avLst>
              <a:gd name="adj1" fmla="val 13337"/>
              <a:gd name="adj2" fmla="val 0"/>
            </a:avLst>
          </a:prstGeom>
          <a:solidFill>
            <a:schemeClr val="bg1">
              <a:alpha val="85098"/>
            </a:schemeClr>
          </a:solidFill>
        </p:spPr>
        <p:txBody>
          <a:bodyPr lIns="162000" tIns="162000" rIns="162000" bIns="162000"/>
          <a:lstStyle>
            <a:lvl1pPr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873451" y="3501008"/>
            <a:ext cx="6552728" cy="151216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40202386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858000"/>
          </a:xfrm>
          <a:solidFill>
            <a:schemeClr val="bg2"/>
          </a:solidFill>
        </p:spPr>
        <p:txBody>
          <a:bodyPr anchor="t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Select shape and click insert picture from menu</a:t>
            </a:r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4584701" y="1556792"/>
            <a:ext cx="7129462" cy="3744416"/>
          </a:xfrm>
          <a:prstGeom prst="round2DiagRect">
            <a:avLst>
              <a:gd name="adj1" fmla="val 13337"/>
              <a:gd name="adj2" fmla="val 0"/>
            </a:avLst>
          </a:prstGeom>
          <a:solidFill>
            <a:schemeClr val="bg1">
              <a:alpha val="85098"/>
            </a:schemeClr>
          </a:solidFill>
        </p:spPr>
        <p:txBody>
          <a:bodyPr lIns="162000" tIns="162000" rIns="162000" bIns="162000"/>
          <a:lstStyle>
            <a:lvl1pPr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873451" y="3501008"/>
            <a:ext cx="6552728" cy="151216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18800"/>
            <a:ext cx="3517200" cy="323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 baseline="0">
                <a:noFill/>
              </a:defRPr>
            </a:lvl1pPr>
          </a:lstStyle>
          <a:p>
            <a:pPr lvl="0"/>
            <a:r>
              <a:rPr lang="en-US"/>
              <a:t>Do not add text her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510000"/>
            <a:ext cx="3517200" cy="323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 baseline="0">
                <a:noFill/>
              </a:defRPr>
            </a:lvl1pPr>
          </a:lstStyle>
          <a:p>
            <a:pPr lvl="0"/>
            <a:r>
              <a:rPr lang="en-US"/>
              <a:t>Do not add text here</a:t>
            </a:r>
          </a:p>
        </p:txBody>
      </p:sp>
      <p:sp>
        <p:nvSpPr>
          <p:cNvPr id="2" name="t_confidentiality"/>
          <p:cNvSpPr/>
          <p:nvPr userDrawn="1"/>
        </p:nvSpPr>
        <p:spPr>
          <a:xfrm>
            <a:off x="9626219" y="116632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554884650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1013" y="404814"/>
            <a:ext cx="11233150" cy="9359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013" y="1557339"/>
            <a:ext cx="11233150" cy="446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41375" y="6453336"/>
            <a:ext cx="1223963" cy="14401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A22DA4D0-8748-42E4-92E2-B4D048CA0FE3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65338" y="6453336"/>
            <a:ext cx="4032250" cy="14401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© Valmet   |   Author /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014" y="6453336"/>
            <a:ext cx="360361" cy="14401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82F35C78-EDC3-4BE6-A74D-429C10820A8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083" y="6237312"/>
            <a:ext cx="1291874" cy="432000"/>
          </a:xfrm>
          <a:prstGeom prst="rect">
            <a:avLst/>
          </a:prstGeom>
        </p:spPr>
      </p:pic>
      <p:sp>
        <p:nvSpPr>
          <p:cNvPr id="7" name="t_confidentiality"/>
          <p:cNvSpPr/>
          <p:nvPr userDrawn="1"/>
        </p:nvSpPr>
        <p:spPr>
          <a:xfrm>
            <a:off x="9626219" y="111547"/>
            <a:ext cx="2160000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i-FI" sz="12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  <p:sp>
        <p:nvSpPr>
          <p:cNvPr id="9" name="(c)" hidden="1"/>
          <p:cNvSpPr txBox="1"/>
          <p:nvPr userDrawn="1"/>
        </p:nvSpPr>
        <p:spPr>
          <a:xfrm>
            <a:off x="11986517" y="6891795"/>
            <a:ext cx="198773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>
                <a:solidFill>
                  <a:schemeClr val="bg1"/>
                </a:solidFill>
                <a:latin typeface="+mn-lt"/>
              </a:rPr>
              <a:t> valmet</a:t>
            </a:r>
            <a:endParaRPr lang="en-GB" sz="20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34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716" r:id="rId4"/>
    <p:sldLayoutId id="2147483717" r:id="rId5"/>
    <p:sldLayoutId id="2147483664" r:id="rId6"/>
    <p:sldLayoutId id="2147483704" r:id="rId7"/>
    <p:sldLayoutId id="2147483702" r:id="rId8"/>
    <p:sldLayoutId id="2147483703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75" r:id="rId19"/>
    <p:sldLayoutId id="2147483676" r:id="rId20"/>
    <p:sldLayoutId id="2147483677" r:id="rId21"/>
    <p:sldLayoutId id="2147483678" r:id="rId22"/>
    <p:sldLayoutId id="2147483679" r:id="rId23"/>
    <p:sldLayoutId id="2147483680" r:id="rId24"/>
    <p:sldLayoutId id="2147483690" r:id="rId25"/>
    <p:sldLayoutId id="2147483691" r:id="rId26"/>
    <p:sldLayoutId id="2147483696" r:id="rId27"/>
    <p:sldLayoutId id="2147483692" r:id="rId28"/>
    <p:sldLayoutId id="2147483697" r:id="rId29"/>
    <p:sldLayoutId id="2147483683" r:id="rId30"/>
    <p:sldLayoutId id="2147483685" r:id="rId31"/>
    <p:sldLayoutId id="2147483693" r:id="rId32"/>
    <p:sldLayoutId id="2147483694" r:id="rId33"/>
    <p:sldLayoutId id="2147483695" r:id="rId34"/>
    <p:sldLayoutId id="2147483708" r:id="rId35"/>
    <p:sldLayoutId id="2147483705" r:id="rId36"/>
    <p:sldLayoutId id="2147483711" r:id="rId37"/>
    <p:sldLayoutId id="2147483706" r:id="rId38"/>
    <p:sldLayoutId id="2147483712" r:id="rId39"/>
    <p:sldLayoutId id="2147483707" r:id="rId40"/>
    <p:sldLayoutId id="2147483713" r:id="rId41"/>
    <p:sldLayoutId id="2147483709" r:id="rId42"/>
    <p:sldLayoutId id="2147483714" r:id="rId43"/>
    <p:sldLayoutId id="2147483710" r:id="rId44"/>
    <p:sldLayoutId id="2147483715" r:id="rId45"/>
    <p:sldLayoutId id="2147483681" r:id="rId46"/>
    <p:sldLayoutId id="2147483687" r:id="rId47"/>
    <p:sldLayoutId id="2147483688" r:id="rId48"/>
    <p:sldLayoutId id="2147483689" r:id="rId49"/>
  </p:sldLayoutIdLst>
  <p:transition spd="med"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8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"/>
        <a:defRPr sz="20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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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rgbClr val="242527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hyperlink" Target="https://brandcenter.valmet.com/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9.xml"/><Relationship Id="rId6" Type="http://schemas.openxmlformats.org/officeDocument/2006/relationships/hyperlink" Target="https://mediabank.valmet.com/" TargetMode="External"/><Relationship Id="rId5" Type="http://schemas.openxmlformats.org/officeDocument/2006/relationships/hyperlink" Target="https://brandcenter.valmet.com/document/34#/office-communications/e-mail-signature:7496" TargetMode="External"/><Relationship Id="rId4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59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62.jpe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6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image" Target="../media/image14.png"/><Relationship Id="rId18" Type="http://schemas.microsoft.com/office/2007/relationships/hdphoto" Target="../media/hdphoto4.wdp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microsoft.com/office/2007/relationships/hdphoto" Target="../media/hdphoto2.wdp"/><Relationship Id="rId17" Type="http://schemas.openxmlformats.org/officeDocument/2006/relationships/image" Target="../media/image17.png"/><Relationship Id="rId2" Type="http://schemas.openxmlformats.org/officeDocument/2006/relationships/tags" Target="../tags/tag2.xml"/><Relationship Id="rId16" Type="http://schemas.openxmlformats.org/officeDocument/2006/relationships/image" Target="../media/image16.png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2.xml"/><Relationship Id="rId15" Type="http://schemas.microsoft.com/office/2007/relationships/hdphoto" Target="../media/hdphoto3.wdp"/><Relationship Id="rId10" Type="http://schemas.microsoft.com/office/2007/relationships/hdphoto" Target="../media/hdphoto1.wdp"/><Relationship Id="rId19" Type="http://schemas.openxmlformats.org/officeDocument/2006/relationships/image" Target="../media/image18.png"/><Relationship Id="rId4" Type="http://schemas.openxmlformats.org/officeDocument/2006/relationships/tags" Target="../tags/tag4.xm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18" Type="http://schemas.microsoft.com/office/2007/relationships/hdphoto" Target="../media/hdphoto6.wdp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1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2CACA-B0BC-4B6D-B5E0-AE4DE93390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Marketing expo demonstr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6A9D47-4076-412C-B18E-E62D294F3D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/>
              <a:t>S&amp;OP LatAm 2025</a:t>
            </a:r>
          </a:p>
        </p:txBody>
      </p:sp>
    </p:spTree>
    <p:extLst>
      <p:ext uri="{BB962C8B-B14F-4D97-AF65-F5344CB8AC3E}">
        <p14:creationId xmlns:p14="http://schemas.microsoft.com/office/powerpoint/2010/main" val="14800315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FD6AF9B-B028-9E83-D9A3-041D6C136D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s-CL" sz="1600" b="0" i="0">
                <a:solidFill>
                  <a:srgbClr val="242424"/>
                </a:solidFill>
                <a:effectLst/>
              </a:rPr>
              <a:t>Large-scale industry gatherings where </a:t>
            </a:r>
            <a:r>
              <a:rPr lang="es-419" sz="1600" b="0" i="0">
                <a:solidFill>
                  <a:srgbClr val="242424"/>
                </a:solidFill>
                <a:effectLst/>
              </a:rPr>
              <a:t>we</a:t>
            </a:r>
            <a:r>
              <a:rPr lang="es-CL" sz="1600" b="0" i="0">
                <a:solidFill>
                  <a:srgbClr val="242424"/>
                </a:solidFill>
                <a:effectLst/>
              </a:rPr>
              <a:t> showcase products, services, and innovations to a broad audience. These events are designed to increase brand visibility, generate leads, and strengthen market positioning.</a:t>
            </a:r>
            <a:endParaRPr lang="es-CL" sz="1600">
              <a:solidFill>
                <a:srgbClr val="242424"/>
              </a:solidFill>
              <a:effectLst/>
            </a:endParaRP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D185B2-E4D2-5E9A-EE50-D156504DF36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s-CL" sz="1600" b="0" i="0">
                <a:solidFill>
                  <a:srgbClr val="242424"/>
                </a:solidFill>
                <a:effectLst/>
              </a:rPr>
              <a:t>Online events that allow participants to join remotely. </a:t>
            </a:r>
            <a:r>
              <a:rPr lang="es-419" sz="1600" b="0" i="0">
                <a:solidFill>
                  <a:srgbClr val="242424"/>
                </a:solidFill>
                <a:effectLst/>
              </a:rPr>
              <a:t>We use webinars</a:t>
            </a:r>
            <a:r>
              <a:rPr lang="es-CL" sz="1600" b="0" i="0">
                <a:solidFill>
                  <a:srgbClr val="242424"/>
                </a:solidFill>
                <a:effectLst/>
              </a:rPr>
              <a:t> to deliver presentations, training, or product updates in a convenient, interactive format</a:t>
            </a:r>
            <a:r>
              <a:rPr lang="es-419" sz="1600" b="0" i="0">
                <a:solidFill>
                  <a:srgbClr val="242424"/>
                </a:solidFill>
                <a:effectLst/>
              </a:rPr>
              <a:t> that</a:t>
            </a:r>
            <a:r>
              <a:rPr lang="en-US" sz="1600" b="0" i="0">
                <a:solidFill>
                  <a:srgbClr val="242424"/>
                </a:solidFill>
                <a:effectLst/>
              </a:rPr>
              <a:t> includes </a:t>
            </a:r>
            <a:r>
              <a:rPr lang="es-CL" sz="1600" b="0" i="0">
                <a:solidFill>
                  <a:srgbClr val="242424"/>
                </a:solidFill>
                <a:effectLst/>
              </a:rPr>
              <a:t>Q&amp;A sessions</a:t>
            </a:r>
            <a:endParaRPr lang="es-CL" sz="1600">
              <a:solidFill>
                <a:srgbClr val="242424"/>
              </a:solidFill>
              <a:effectLst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964572-41A6-ABD9-A394-91F87AA1AB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s-CL" sz="1600" b="0" i="0">
                <a:solidFill>
                  <a:srgbClr val="242424"/>
                </a:solidFill>
                <a:effectLst/>
              </a:rPr>
              <a:t>Exclusive, topic-focused events organized for</a:t>
            </a:r>
            <a:r>
              <a:rPr lang="en-US" sz="1600" b="0" i="0">
                <a:solidFill>
                  <a:srgbClr val="242424"/>
                </a:solidFill>
                <a:effectLst/>
              </a:rPr>
              <a:t> </a:t>
            </a:r>
            <a:r>
              <a:rPr lang="es-CL" sz="1600" b="0" i="0">
                <a:solidFill>
                  <a:srgbClr val="242424"/>
                </a:solidFill>
                <a:effectLst/>
              </a:rPr>
              <a:t>customers. The goal is to share in-depth knowledge, present solutions, and foster stronger relationships through direct engagement.</a:t>
            </a:r>
            <a:endParaRPr lang="es-CL" sz="1600">
              <a:solidFill>
                <a:srgbClr val="242424"/>
              </a:solidFill>
              <a:effectLst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10D002-92C2-178F-1548-DBFCB02B679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s-CL" sz="1600" b="0" i="0">
                <a:solidFill>
                  <a:srgbClr val="242424"/>
                </a:solidFill>
                <a:effectLst/>
              </a:rPr>
              <a:t>Smaller, highly targeted sessions held at customer sites, typically lasting a full or half day. These events focus on a specific technical topic, providing hands-on insights and practical discussions tailored to the customer’s operations.</a:t>
            </a:r>
            <a:endParaRPr lang="es-CL" sz="1600">
              <a:solidFill>
                <a:srgbClr val="242424"/>
              </a:solidFill>
              <a:effectLst/>
            </a:endParaRPr>
          </a:p>
          <a:p>
            <a:endParaRPr lang="en-US"/>
          </a:p>
        </p:txBody>
      </p:sp>
      <p:pic>
        <p:nvPicPr>
          <p:cNvPr id="25" name="Picture Placeholder 24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0F5B08F4-4A17-056E-1C2B-010264124D0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89" b="12689"/>
          <a:stretch>
            <a:fillRect/>
          </a:stretch>
        </p:blipFill>
        <p:spPr/>
      </p:pic>
      <p:pic>
        <p:nvPicPr>
          <p:cNvPr id="27" name="Picture Placeholder 26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3198EAC1-97CF-704D-9BAF-8F1CFE17AAC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" b="251"/>
          <a:stretch>
            <a:fillRect/>
          </a:stretch>
        </p:blipFill>
        <p:spPr/>
      </p:pic>
      <p:pic>
        <p:nvPicPr>
          <p:cNvPr id="21" name="Picture Placeholder 20" descr="A green and white flag with green leaves&#10;&#10;AI-generated content may be incorrect.">
            <a:extLst>
              <a:ext uri="{FF2B5EF4-FFF2-40B4-BE49-F238E27FC236}">
                <a16:creationId xmlns:a16="http://schemas.microsoft.com/office/drawing/2014/main" id="{FE1F6F1F-4A09-34FC-ACF5-50996DDAF4FE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" b="251"/>
          <a:stretch>
            <a:fillRect/>
          </a:stretch>
        </p:blipFill>
        <p:spPr/>
      </p:pic>
      <p:pic>
        <p:nvPicPr>
          <p:cNvPr id="23" name="Picture Placeholder 22" descr="A group of people standing in a circle&#10;&#10;AI-generated content may be incorrect.">
            <a:extLst>
              <a:ext uri="{FF2B5EF4-FFF2-40B4-BE49-F238E27FC236}">
                <a16:creationId xmlns:a16="http://schemas.microsoft.com/office/drawing/2014/main" id="{CFDE8A54-3322-DB2A-6109-F0FFD8A97B09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5" b="8025"/>
          <a:stretch>
            <a:fillRect/>
          </a:stretch>
        </p:blipFill>
        <p:spPr/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87E9355-C2F2-D8EA-C735-068965DC5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3931-528C-4AE5-B8C5-3AB29FB94C84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ADF41D0-0581-2B18-BE27-BF871471E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4494074-FC12-1103-19F9-955B9B9B2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3051D1BB-CFF5-339F-113B-21DCFF248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Events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EB59665-A19A-0C67-D6E0-4352E0BBCA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s-CL" err="1"/>
              <a:t>External</a:t>
            </a:r>
            <a:r>
              <a:rPr lang="es-CL"/>
              <a:t> </a:t>
            </a:r>
            <a:r>
              <a:rPr lang="es-CL" err="1"/>
              <a:t>event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5830F9-78C7-D097-0A82-207777595A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s-CL" err="1"/>
              <a:t>Customer</a:t>
            </a:r>
            <a:r>
              <a:rPr lang="es-CL"/>
              <a:t> </a:t>
            </a:r>
            <a:r>
              <a:rPr lang="es-CL" err="1"/>
              <a:t>seminar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0C943A-1285-97A7-4328-6B2D20B50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CL"/>
              <a:t>Webinar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7EE4094-8A7A-8B32-7B73-7490E18E7AD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14211" y="2804301"/>
            <a:ext cx="2700000" cy="264337"/>
          </a:xfrm>
        </p:spPr>
        <p:txBody>
          <a:bodyPr/>
          <a:lstStyle/>
          <a:p>
            <a:r>
              <a:rPr lang="es-CL" err="1"/>
              <a:t>Tech</a:t>
            </a:r>
            <a:r>
              <a:rPr lang="es-CL"/>
              <a:t> Day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A2C4D5-7A3B-3CAA-98FA-733B6A9B91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719659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631DFAF-04D9-A3B0-3E6D-4E310CFD47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for marketing content cre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116BE1-A15C-10E2-268A-D8DDEE7C3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 anchor="t">
            <a:normAutofit/>
          </a:bodyPr>
          <a:lstStyle/>
          <a:p>
            <a:r>
              <a:rPr lang="en-US"/>
              <a:t>MKT workflow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DC37E1-F875-EADF-78DA-95295B17001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41375" y="6453336"/>
            <a:ext cx="1223963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07E44A3-7437-4589-BAA2-9FC7838371E6}" type="datetime3">
              <a:rPr lang="en-US" smtClean="0"/>
              <a:pPr>
                <a:spcAft>
                  <a:spcPts val="600"/>
                </a:spcAft>
              </a:pPr>
              <a:t>27 November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C13C7FC-5319-DF21-8140-0952A64C9A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065338" y="6453336"/>
            <a:ext cx="4032250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Valmet   |   Author /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578C83-BB47-287D-5C1F-D828548361C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81014" y="6453336"/>
            <a:ext cx="360361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35C78-EDC3-4BE6-A74D-429C10820A80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97079654-7F08-13B4-8A2F-AE749134C7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1198747"/>
              </p:ext>
            </p:extLst>
          </p:nvPr>
        </p:nvGraphicFramePr>
        <p:xfrm>
          <a:off x="481013" y="1557339"/>
          <a:ext cx="11233150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22243239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7B6CDF7-AFB0-B2C7-85F3-B533501B42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1375" y="6453336"/>
            <a:ext cx="1223963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EF083FE6-D1B5-4034-9004-77C64DC0BC4C}" type="datetime3">
              <a:rPr lang="en-US" smtClean="0"/>
              <a:pPr>
                <a:spcAft>
                  <a:spcPts val="600"/>
                </a:spcAft>
              </a:pPr>
              <a:t>27 November 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5792FE5-7DB5-283E-2D47-DB8F2DEE6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65338" y="6453336"/>
            <a:ext cx="4032250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Valmet   |   Author / Tit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562D047-191A-DCDC-3684-3DC8A4555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1014" y="6453336"/>
            <a:ext cx="360361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35C78-EDC3-4BE6-A74D-429C10820A80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B9DDDA6-6B55-223E-4D75-3FB02F7C0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404814"/>
            <a:ext cx="11233150" cy="935955"/>
          </a:xfrm>
        </p:spPr>
        <p:txBody>
          <a:bodyPr anchor="t">
            <a:normAutofit/>
          </a:bodyPr>
          <a:lstStyle/>
          <a:p>
            <a:r>
              <a:rPr lang="en-US" dirty="0"/>
              <a:t>Strengthening our brand</a:t>
            </a:r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B84596E8-3F55-AFF5-5F70-FFE6BD7FFDA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88" b="12688"/>
          <a:stretch/>
        </p:blipFill>
        <p:spPr>
          <a:xfrm>
            <a:off x="8113811" y="1557338"/>
            <a:ext cx="3600352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Content Placeholder 25">
            <a:extLst>
              <a:ext uri="{FF2B5EF4-FFF2-40B4-BE49-F238E27FC236}">
                <a16:creationId xmlns:a16="http://schemas.microsoft.com/office/drawing/2014/main" id="{443FD1FC-8762-C389-EE71-095D9801B6BF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89" b="12689"/>
          <a:stretch/>
        </p:blipFill>
        <p:spPr>
          <a:xfrm>
            <a:off x="4297363" y="1557338"/>
            <a:ext cx="3600450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Content Placeholder 23">
            <a:extLst>
              <a:ext uri="{FF2B5EF4-FFF2-40B4-BE49-F238E27FC236}">
                <a16:creationId xmlns:a16="http://schemas.microsoft.com/office/drawing/2014/main" id="{A8A96038-E9F5-D8D1-64DD-BA7478F3ECCE}"/>
              </a:ext>
            </a:extLst>
          </p:cNvPr>
          <p:cNvPicPr>
            <a:picLocks noGrp="1" noChangeAspect="1"/>
          </p:cNvPicPr>
          <p:nvPr>
            <p:ph type="pic" sz="quarter" idx="3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88" b="12688"/>
          <a:stretch/>
        </p:blipFill>
        <p:spPr>
          <a:xfrm>
            <a:off x="481013" y="1557338"/>
            <a:ext cx="3600350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3608795-AA73-EA80-A239-ACBCB666877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13867" y="3068960"/>
            <a:ext cx="3600296" cy="2952428"/>
          </a:xfrm>
        </p:spPr>
        <p:txBody>
          <a:bodyPr>
            <a:normAutofit/>
          </a:bodyPr>
          <a:lstStyle/>
          <a:p>
            <a:r>
              <a:rPr lang="en-US" sz="1500" dirty="0"/>
              <a:t>At Valmet, we brand our emails with a professional looking signature. It makes us look trustworthy and creates brand recognition.</a:t>
            </a:r>
          </a:p>
          <a:p>
            <a:r>
              <a:rPr lang="en-US" sz="1500" dirty="0"/>
              <a:t>In the Brand Center you can find general principles for the signature and guidelines for the content. </a:t>
            </a:r>
          </a:p>
          <a:p>
            <a:r>
              <a:rPr lang="en-US" sz="1500" dirty="0">
                <a:hlinkClick r:id="rId5"/>
              </a:rPr>
              <a:t>https://brandcenter.valmet.com/document/34#/office-communications/e-mail-signature:7496</a:t>
            </a:r>
            <a:endParaRPr lang="en-US" sz="15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2E0A7F-3D64-F3DB-2B08-1B6E8ADDBD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1013" y="2804306"/>
            <a:ext cx="3600294" cy="264349"/>
          </a:xfrm>
        </p:spPr>
        <p:txBody>
          <a:bodyPr wrap="square" anchor="b">
            <a:normAutofit/>
          </a:bodyPr>
          <a:lstStyle/>
          <a:p>
            <a:r>
              <a:rPr lang="es-CL" dirty="0"/>
              <a:t>Brand Center 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CCD514-28F6-ABD1-72D1-6E0286A89E3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297387" y="3068960"/>
            <a:ext cx="3600399" cy="2952428"/>
          </a:xfrm>
        </p:spPr>
        <p:txBody>
          <a:bodyPr>
            <a:normAutofit/>
          </a:bodyPr>
          <a:lstStyle/>
          <a:p>
            <a:r>
              <a:rPr lang="en-US" sz="1600" dirty="0"/>
              <a:t>Valmet Media Bank is a place to download original Valmet media files and pictures. Media Bank is also an easy and safe way to share files to your colleagues or outside partners by creating collections. </a:t>
            </a:r>
          </a:p>
          <a:p>
            <a:r>
              <a:rPr lang="en-US" sz="1600" dirty="0">
                <a:hlinkClick r:id="rId6"/>
              </a:rPr>
              <a:t>https://mediabank.valmet.com</a:t>
            </a:r>
            <a:endParaRPr lang="en-US" sz="16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DEAD1E-5F15-E18A-69F3-0818E87E80D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82400" y="3068960"/>
            <a:ext cx="3596257" cy="2952428"/>
          </a:xfrm>
        </p:spPr>
        <p:txBody>
          <a:bodyPr>
            <a:normAutofit/>
          </a:bodyPr>
          <a:lstStyle/>
          <a:p>
            <a:r>
              <a:rPr lang="en-US" sz="1600" dirty="0"/>
              <a:t>in the Brand Center you will find guidelines, materials and dynamic templates to help you implement the brand in your daily work and to maintain a consistent corporate identity. </a:t>
            </a:r>
          </a:p>
          <a:p>
            <a:r>
              <a:rPr lang="en-US" sz="1600" dirty="0">
                <a:hlinkClick r:id="rId7"/>
              </a:rPr>
              <a:t>https://brandcenter.valmet.com</a:t>
            </a:r>
            <a:endParaRPr lang="en-US" sz="16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21F8A-35CE-12B9-8B82-62772B03A1B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297387" y="2804306"/>
            <a:ext cx="3600400" cy="264349"/>
          </a:xfrm>
        </p:spPr>
        <p:txBody>
          <a:bodyPr wrap="square" anchor="b">
            <a:normAutofit/>
          </a:bodyPr>
          <a:lstStyle/>
          <a:p>
            <a:r>
              <a:rPr lang="es-CL" dirty="0"/>
              <a:t>Media </a:t>
            </a:r>
            <a:r>
              <a:rPr lang="es-CL" dirty="0" err="1"/>
              <a:t>bank</a:t>
            </a:r>
            <a:r>
              <a:rPr lang="es-CL" dirty="0"/>
              <a:t> 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764EC5-017A-3F0E-7798-00CCC17721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13869" y="2804306"/>
            <a:ext cx="3600294" cy="264349"/>
          </a:xfrm>
        </p:spPr>
        <p:txBody>
          <a:bodyPr wrap="square" anchor="b">
            <a:normAutofit/>
          </a:bodyPr>
          <a:lstStyle/>
          <a:p>
            <a:r>
              <a:rPr lang="es-CL" dirty="0"/>
              <a:t>Email </a:t>
            </a:r>
            <a:r>
              <a:rPr lang="es-CL" dirty="0" err="1"/>
              <a:t>sign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392133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916A2108-F373-83AB-D21E-37C734A0D36F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251815" y="620763"/>
          <a:ext cx="11616276" cy="3024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709419-5B9B-6B5E-9C9A-DCA4E2CB2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C8BB3-11EA-418D-A5D9-1B42CFEE747F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1DBE25-27EB-D860-2457-BD5D36239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MKT LatA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92F0F3-DBB4-4CD6-B1D8-60931AFC7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F30CAE4-1B5D-0451-1F80-5471B55C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uidance for 2026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455CE-BB62-5F0C-B70B-9005EE0EBF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trategic roadmap to plan next year, new beginning </a:t>
            </a:r>
          </a:p>
        </p:txBody>
      </p:sp>
      <p:pic>
        <p:nvPicPr>
          <p:cNvPr id="2052" name="Picture 4" descr="Shot of a group of programmers working together on a computer code at night">
            <a:extLst>
              <a:ext uri="{FF2B5EF4-FFF2-40B4-BE49-F238E27FC236}">
                <a16:creationId xmlns:a16="http://schemas.microsoft.com/office/drawing/2014/main" id="{F4F684A1-E5A9-6852-494A-56079AA596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70"/>
          <a:stretch>
            <a:fillRect/>
          </a:stretch>
        </p:blipFill>
        <p:spPr bwMode="auto">
          <a:xfrm>
            <a:off x="5945355" y="2911323"/>
            <a:ext cx="3173874" cy="3128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ropped shot of a group of businesspeople high fiving in the office">
            <a:extLst>
              <a:ext uri="{FF2B5EF4-FFF2-40B4-BE49-F238E27FC236}">
                <a16:creationId xmlns:a16="http://schemas.microsoft.com/office/drawing/2014/main" id="{B431267D-9764-108C-A49F-126DA213F5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05"/>
          <a:stretch>
            <a:fillRect/>
          </a:stretch>
        </p:blipFill>
        <p:spPr bwMode="auto">
          <a:xfrm>
            <a:off x="9121923" y="2911323"/>
            <a:ext cx="2726438" cy="3128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White collar workers are working at the office. They are stay together and meeting. Employee and teamwork concept.">
            <a:extLst>
              <a:ext uri="{FF2B5EF4-FFF2-40B4-BE49-F238E27FC236}">
                <a16:creationId xmlns:a16="http://schemas.microsoft.com/office/drawing/2014/main" id="{AF8E7B3A-E626-C885-51C7-8E5C9C958D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" r="9921"/>
          <a:stretch>
            <a:fillRect/>
          </a:stretch>
        </p:blipFill>
        <p:spPr bwMode="auto">
          <a:xfrm>
            <a:off x="313412" y="2911323"/>
            <a:ext cx="2695286" cy="315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3D rendering of Flying Empty Cone Shape Product Stand, Platform, Podium with staircase for the presentations. Minimal design.">
            <a:extLst>
              <a:ext uri="{FF2B5EF4-FFF2-40B4-BE49-F238E27FC236}">
                <a16:creationId xmlns:a16="http://schemas.microsoft.com/office/drawing/2014/main" id="{2AE7C9DE-D596-F93C-479B-757124E2C1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7" r="7670"/>
          <a:stretch>
            <a:fillRect/>
          </a:stretch>
        </p:blipFill>
        <p:spPr bwMode="auto">
          <a:xfrm>
            <a:off x="3022369" y="2911323"/>
            <a:ext cx="2922986" cy="313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9724443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3F2D8F60-42EA-0732-066D-3CBD61F1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2D12B0-3B6B-2524-E2E7-EF4B9B239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 anchor="t">
            <a:normAutofit/>
          </a:bodyPr>
          <a:lstStyle/>
          <a:p>
            <a:r>
              <a:rPr lang="en-US"/>
              <a:t>Final message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C5067E-9DBD-D3EA-BB0D-2E4148BFBF0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41375" y="6453336"/>
            <a:ext cx="1223963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2220B8B-2849-41DA-9EF2-3156DAF3B9E7}" type="datetime3">
              <a:rPr lang="en-US" smtClean="0"/>
              <a:pPr>
                <a:spcAft>
                  <a:spcPts val="600"/>
                </a:spcAft>
              </a:pPr>
              <a:t>27 November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70C7D9-8512-405F-5313-8C61EF76BC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065338" y="6453336"/>
            <a:ext cx="4032250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Valmet   |   Author /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38EA1C6-FC64-8EA1-D916-A4C137665B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81014" y="6453336"/>
            <a:ext cx="360361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35C78-EDC3-4BE6-A74D-429C10820A80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44341DF6-0742-6C3D-78CA-910896279AD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9742889"/>
              </p:ext>
            </p:extLst>
          </p:nvPr>
        </p:nvGraphicFramePr>
        <p:xfrm>
          <a:off x="481013" y="1557339"/>
          <a:ext cx="11233150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43057935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906945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81D17-02FF-4C1E-1AE6-E330F6BEC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>
            <a:extLst>
              <a:ext uri="{FF2B5EF4-FFF2-40B4-BE49-F238E27FC236}">
                <a16:creationId xmlns:a16="http://schemas.microsoft.com/office/drawing/2014/main" id="{78F7B09D-97FE-1FE1-F10C-E84BE59DC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567" y="3284984"/>
            <a:ext cx="9316015" cy="267721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wrap="none" tIns="27000" anchor="ctr" anchorCtr="0"/>
          <a:lstStyle/>
          <a:p>
            <a:pPr indent="811213">
              <a:defRPr/>
            </a:pPr>
            <a:r>
              <a:rPr lang="en-US" sz="1200" b="1"/>
              <a:t>	      </a:t>
            </a:r>
          </a:p>
          <a:p>
            <a:pPr indent="811213">
              <a:defRPr/>
            </a:pPr>
            <a:r>
              <a:rPr lang="en-US" sz="1200" b="1"/>
              <a:t>          MKT BAs support</a:t>
            </a:r>
          </a:p>
          <a:p>
            <a:pPr indent="811213">
              <a:defRPr/>
            </a:pPr>
            <a:r>
              <a:rPr lang="en-US" sz="1200"/>
              <a:t>          Bruna Silva (partner)</a:t>
            </a:r>
          </a:p>
          <a:p>
            <a:pPr indent="811213">
              <a:defRPr/>
            </a:pPr>
            <a:endParaRPr lang="en-US" sz="1200"/>
          </a:p>
          <a:p>
            <a:pPr indent="811213">
              <a:defRPr/>
            </a:pPr>
            <a:endParaRPr lang="en-US" sz="1200"/>
          </a:p>
          <a:p>
            <a:pPr indent="811213">
              <a:defRPr/>
            </a:pPr>
            <a:r>
              <a:rPr lang="en-US" sz="1200"/>
              <a:t>   </a:t>
            </a:r>
          </a:p>
          <a:p>
            <a:pPr indent="811213">
              <a:defRPr/>
            </a:pPr>
            <a:r>
              <a:rPr lang="en-US" sz="1200" b="1"/>
              <a:t>	        Digital and Trade MKT (2026)</a:t>
            </a:r>
          </a:p>
          <a:p>
            <a:pPr indent="811213">
              <a:defRPr/>
            </a:pPr>
            <a:r>
              <a:rPr lang="en-US" sz="1200"/>
              <a:t>	        Camila Iann </a:t>
            </a:r>
          </a:p>
          <a:p>
            <a:pPr indent="811213">
              <a:defRPr/>
            </a:pPr>
            <a:r>
              <a:rPr lang="en-US" sz="1200"/>
              <a:t>  </a:t>
            </a:r>
          </a:p>
          <a:p>
            <a:pPr indent="811213">
              <a:defRPr/>
            </a:pPr>
            <a:endParaRPr lang="en-US" sz="1200"/>
          </a:p>
          <a:p>
            <a:pPr indent="811213">
              <a:defRPr/>
            </a:pPr>
            <a:r>
              <a:rPr lang="en-US" sz="1200" b="1"/>
              <a:t>	      </a:t>
            </a:r>
          </a:p>
          <a:p>
            <a:pPr indent="811213">
              <a:defRPr/>
            </a:pPr>
            <a:r>
              <a:rPr lang="en-US" sz="1200" b="1"/>
              <a:t>	       Internal Comms + Website</a:t>
            </a:r>
          </a:p>
          <a:p>
            <a:pPr indent="811213">
              <a:defRPr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     Luis Gaona (partner)</a:t>
            </a:r>
            <a:endParaRPr lang="en-US" sz="1200">
              <a:latin typeface="Arial"/>
            </a:endParaRPr>
          </a:p>
          <a:p>
            <a:pPr indent="811213">
              <a:defRPr/>
            </a:pPr>
            <a:endParaRPr lang="en-US" sz="1200" b="1"/>
          </a:p>
        </p:txBody>
      </p:sp>
      <p:graphicFrame>
        <p:nvGraphicFramePr>
          <p:cNvPr id="12" name="Object 6" hidden="1">
            <a:extLst>
              <a:ext uri="{FF2B5EF4-FFF2-40B4-BE49-F238E27FC236}">
                <a16:creationId xmlns:a16="http://schemas.microsoft.com/office/drawing/2014/main" id="{E95256FE-2EC9-E847-11D6-7714287534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12" name="Object 6" hidden="1">
                        <a:extLst>
                          <a:ext uri="{FF2B5EF4-FFF2-40B4-BE49-F238E27FC236}">
                            <a16:creationId xmlns:a16="http://schemas.microsoft.com/office/drawing/2014/main" id="{E95256FE-2EC9-E847-11D6-7714287534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11">
            <a:extLst>
              <a:ext uri="{FF2B5EF4-FFF2-40B4-BE49-F238E27FC236}">
                <a16:creationId xmlns:a16="http://schemas.microsoft.com/office/drawing/2014/main" id="{5CB9081E-0B4A-8B24-37D1-4EE9D01C384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27214" y="1597744"/>
            <a:ext cx="1616725" cy="4622099"/>
          </a:xfrm>
          <a:prstGeom prst="rect">
            <a:avLst/>
          </a:prstGeom>
          <a:solidFill>
            <a:schemeClr val="accent1"/>
          </a:solidFill>
          <a:ln w="3175" cmpd="sng">
            <a:noFill/>
            <a:prstDash val="solid"/>
            <a:miter lim="800000"/>
            <a:headEnd/>
            <a:tailEnd/>
          </a:ln>
        </p:spPr>
        <p:txBody>
          <a:bodyPr wrap="square" tIns="154760">
            <a:noAutofit/>
          </a:bodyPr>
          <a:lstStyle/>
          <a:p>
            <a:pPr algn="ctr">
              <a:defRPr/>
            </a:pPr>
            <a: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KT Services</a:t>
            </a:r>
          </a:p>
          <a:p>
            <a:pPr algn="ctr">
              <a:defRPr/>
            </a:pPr>
            <a: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PAC /PEC)</a:t>
            </a:r>
          </a:p>
        </p:txBody>
      </p:sp>
      <p:sp>
        <p:nvSpPr>
          <p:cNvPr id="75" name="Rectangle 11">
            <a:extLst>
              <a:ext uri="{FF2B5EF4-FFF2-40B4-BE49-F238E27FC236}">
                <a16:creationId xmlns:a16="http://schemas.microsoft.com/office/drawing/2014/main" id="{38F990DB-0C25-B246-CA35-D5A96BD9787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10453" y="1596714"/>
            <a:ext cx="1616725" cy="4622099"/>
          </a:xfrm>
          <a:prstGeom prst="rect">
            <a:avLst/>
          </a:prstGeom>
          <a:solidFill>
            <a:schemeClr val="accent1"/>
          </a:solidFill>
          <a:ln w="3175">
            <a:noFill/>
            <a:miter lim="800000"/>
            <a:headEnd/>
            <a:tailEnd/>
          </a:ln>
        </p:spPr>
        <p:txBody>
          <a:bodyPr wrap="square" tIns="154760">
            <a:noAutofit/>
          </a:bodyPr>
          <a:lstStyle/>
          <a:p>
            <a:pPr algn="ctr">
              <a:defRPr/>
            </a:pPr>
            <a: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KT Pulp, Energy</a:t>
            </a:r>
          </a:p>
          <a:p>
            <a:pPr algn="ctr">
              <a:defRPr/>
            </a:pPr>
            <a: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nd Circularity</a:t>
            </a:r>
          </a:p>
        </p:txBody>
      </p:sp>
      <p:sp>
        <p:nvSpPr>
          <p:cNvPr id="76" name="Rectangle 11">
            <a:extLst>
              <a:ext uri="{FF2B5EF4-FFF2-40B4-BE49-F238E27FC236}">
                <a16:creationId xmlns:a16="http://schemas.microsoft.com/office/drawing/2014/main" id="{5110BC79-5664-AE11-1559-C3401CB6E3D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615418" y="1597744"/>
            <a:ext cx="1616725" cy="4622099"/>
          </a:xfrm>
          <a:prstGeom prst="rect">
            <a:avLst/>
          </a:prstGeom>
          <a:solidFill>
            <a:schemeClr val="accent1"/>
          </a:solidFill>
          <a:ln w="3175">
            <a:noFill/>
            <a:miter lim="800000"/>
            <a:headEnd/>
            <a:tailEnd/>
          </a:ln>
        </p:spPr>
        <p:txBody>
          <a:bodyPr wrap="square" tIns="154760">
            <a:noAutofit/>
          </a:bodyPr>
          <a:lstStyle/>
          <a:p>
            <a:pPr algn="ctr">
              <a:defRPr/>
            </a:pPr>
            <a: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KT Packaging and Paper </a:t>
            </a:r>
            <a:b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fi-FI" sz="1400" b="1" noProof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&amp; Tissue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F5799069-DEE5-7CE3-BBC3-991AC376F427}"/>
              </a:ext>
            </a:extLst>
          </p:cNvPr>
          <p:cNvSpPr>
            <a:spLocks/>
          </p:cNvSpPr>
          <p:nvPr/>
        </p:nvSpPr>
        <p:spPr>
          <a:xfrm>
            <a:off x="4941403" y="3564899"/>
            <a:ext cx="1541445" cy="407847"/>
          </a:xfrm>
          <a:prstGeom prst="round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prstClr val="black"/>
                </a:solidFill>
                <a:latin typeface="Arial"/>
              </a:rPr>
              <a:t>Fernanda Maia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9D36A484-EC0B-F0E7-3AA4-DF5C82B41F14}"/>
              </a:ext>
            </a:extLst>
          </p:cNvPr>
          <p:cNvSpPr>
            <a:spLocks/>
          </p:cNvSpPr>
          <p:nvPr/>
        </p:nvSpPr>
        <p:spPr>
          <a:xfrm>
            <a:off x="6656546" y="3564899"/>
            <a:ext cx="1541445" cy="407847"/>
          </a:xfrm>
          <a:prstGeom prst="round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prstClr val="black"/>
                </a:solidFill>
                <a:latin typeface="Arial"/>
              </a:rPr>
              <a:t>Luiza Callado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7760A11-439F-DF2C-8BA6-3D146F443AD8}"/>
              </a:ext>
            </a:extLst>
          </p:cNvPr>
          <p:cNvSpPr>
            <a:spLocks/>
          </p:cNvSpPr>
          <p:nvPr/>
        </p:nvSpPr>
        <p:spPr>
          <a:xfrm>
            <a:off x="8368343" y="3564899"/>
            <a:ext cx="1541445" cy="407847"/>
          </a:xfrm>
          <a:prstGeom prst="round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prstClr val="black"/>
                </a:solidFill>
                <a:latin typeface="Arial"/>
              </a:rPr>
              <a:t>Bárbara Arroyo</a:t>
            </a:r>
          </a:p>
        </p:txBody>
      </p:sp>
      <p:pic>
        <p:nvPicPr>
          <p:cNvPr id="4" name="Picture 3" descr="A person smiling for the camera&#10;&#10;Description generated with very high confidence">
            <a:extLst>
              <a:ext uri="{FF2B5EF4-FFF2-40B4-BE49-F238E27FC236}">
                <a16:creationId xmlns:a16="http://schemas.microsoft.com/office/drawing/2014/main" id="{053207DB-C0D6-AD9E-F81A-F5580DB3683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1243" b="71598" l="8000" r="92889">
                        <a14:foregroundMark x1="33778" y1="11243" x2="33778" y2="11243"/>
                        <a14:foregroundMark x1="60889" y1="65976" x2="60889" y2="65976"/>
                        <a14:foregroundMark x1="29333" y1="68047" x2="29333" y2="68047"/>
                        <a14:foregroundMark x1="5333" y1="70118" x2="61778" y2="71598"/>
                        <a14:foregroundMark x1="61778" y1="71598" x2="93333" y2="68935"/>
                        <a14:foregroundMark x1="40889" y1="50000" x2="47556" y2="50000"/>
                        <a14:foregroundMark x1="8000" y1="64497" x2="16889" y2="34911"/>
                        <a14:foregroundMark x1="90667" y1="59763" x2="82222" y2="479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7" t="8171" r="-257" b="26492"/>
          <a:stretch/>
        </p:blipFill>
        <p:spPr>
          <a:xfrm>
            <a:off x="7057845" y="2814406"/>
            <a:ext cx="772644" cy="75723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D9AEDD-432D-7F3D-F038-B2040602A497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726" b="89904" l="9978" r="89912">
                        <a14:foregroundMark x1="38816" y1="8053" x2="49342" y2="3726"/>
                        <a14:foregroundMark x1="49342" y1="3726" x2="56360" y2="8053"/>
                      </a14:backgroundRemoval>
                    </a14:imgEffect>
                  </a14:imgLayer>
                </a14:imgProps>
              </a:ext>
            </a:extLst>
          </a:blip>
          <a:srcRect b="39309"/>
          <a:stretch/>
        </p:blipFill>
        <p:spPr>
          <a:xfrm>
            <a:off x="8483083" y="2811510"/>
            <a:ext cx="1360710" cy="753389"/>
          </a:xfrm>
          <a:prstGeom prst="rect">
            <a:avLst/>
          </a:prstGeom>
        </p:spPr>
      </p:pic>
      <p:pic>
        <p:nvPicPr>
          <p:cNvPr id="9" name="Picture 8" descr="A picture containing person, clothing, hair, posing&#10;&#10;Description automatically generated">
            <a:extLst>
              <a:ext uri="{FF2B5EF4-FFF2-40B4-BE49-F238E27FC236}">
                <a16:creationId xmlns:a16="http://schemas.microsoft.com/office/drawing/2014/main" id="{68F1740E-F27B-B142-7850-DAE20F74326D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280"/>
          <a:stretch/>
        </p:blipFill>
        <p:spPr>
          <a:xfrm>
            <a:off x="1607533" y="4196868"/>
            <a:ext cx="758475" cy="762696"/>
          </a:xfrm>
          <a:prstGeom prst="rect">
            <a:avLst/>
          </a:prstGeom>
        </p:spPr>
      </p:pic>
      <p:pic>
        <p:nvPicPr>
          <p:cNvPr id="10" name="Picture 9" descr="A person wearing glasses and a yellow striped shirt&#10;&#10;AI-generated content may be incorrect.">
            <a:extLst>
              <a:ext uri="{FF2B5EF4-FFF2-40B4-BE49-F238E27FC236}">
                <a16:creationId xmlns:a16="http://schemas.microsoft.com/office/drawing/2014/main" id="{26953710-C764-BD52-0A0D-65F332BB27A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168" t="11429" r="31755" b="11250"/>
          <a:stretch/>
        </p:blipFill>
        <p:spPr>
          <a:xfrm>
            <a:off x="1760870" y="5035037"/>
            <a:ext cx="640436" cy="869306"/>
          </a:xfrm>
          <a:prstGeom prst="rect">
            <a:avLst/>
          </a:prstGeom>
        </p:spPr>
      </p:pic>
      <p:pic>
        <p:nvPicPr>
          <p:cNvPr id="33" name="Picture 32" descr="A person smiling at the camera&#10;&#10;AI-generated content may be incorrect.">
            <a:extLst>
              <a:ext uri="{FF2B5EF4-FFF2-40B4-BE49-F238E27FC236}">
                <a16:creationId xmlns:a16="http://schemas.microsoft.com/office/drawing/2014/main" id="{D83B1300-C42D-4BB6-1A17-99B509F244B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539" b="10997"/>
          <a:stretch>
            <a:fillRect/>
          </a:stretch>
        </p:blipFill>
        <p:spPr>
          <a:xfrm>
            <a:off x="1630491" y="3053065"/>
            <a:ext cx="643702" cy="1033518"/>
          </a:xfrm>
          <a:prstGeom prst="rect">
            <a:avLst/>
          </a:prstGeom>
        </p:spPr>
      </p:pic>
      <p:sp>
        <p:nvSpPr>
          <p:cNvPr id="2" name="Rectangle 7">
            <a:extLst>
              <a:ext uri="{FF2B5EF4-FFF2-40B4-BE49-F238E27FC236}">
                <a16:creationId xmlns:a16="http://schemas.microsoft.com/office/drawing/2014/main" id="{EF98C96B-E252-86C8-BFDC-35A29F883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3051" y="854062"/>
            <a:ext cx="9433048" cy="613162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en-US" b="1" noProof="1">
                <a:latin typeface="Arial"/>
              </a:rPr>
              <a:t>Marketing Latin America (LatAm)</a:t>
            </a:r>
          </a:p>
          <a:p>
            <a:pPr algn="ctr">
              <a:defRPr/>
            </a:pPr>
            <a:r>
              <a:rPr lang="fi-FI" u="sng">
                <a:latin typeface="Arial"/>
              </a:rPr>
              <a:t>Fernanda Maia</a:t>
            </a:r>
            <a:endParaRPr lang="en-US" sz="2000" i="1" baseline="20000" noProof="1">
              <a:latin typeface="Arial"/>
            </a:endParaRPr>
          </a:p>
        </p:txBody>
      </p:sp>
      <p:pic>
        <p:nvPicPr>
          <p:cNvPr id="6" name="Picture 5" descr="A person smiling for the camera&#10;&#10;Description generated with very high confidence">
            <a:extLst>
              <a:ext uri="{FF2B5EF4-FFF2-40B4-BE49-F238E27FC236}">
                <a16:creationId xmlns:a16="http://schemas.microsoft.com/office/drawing/2014/main" id="{663850C0-2BFF-5FE0-C6E0-5E782C6313ED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025" b="73967" l="17227" r="85714">
                        <a14:foregroundMark x1="26891" y1="65289" x2="67227" y2="69835"/>
                        <a14:foregroundMark x1="67227" y1="69835" x2="65966" y2="56198"/>
                        <a14:foregroundMark x1="81513" y1="63223" x2="42017" y2="73554"/>
                        <a14:foregroundMark x1="42017" y1="73554" x2="28571" y2="72727"/>
                        <a14:foregroundMark x1="77731" y1="71901" x2="82773" y2="69008"/>
                        <a14:foregroundMark x1="83613" y1="73967" x2="83613" y2="73967"/>
                        <a14:foregroundMark x1="85714" y1="73140" x2="85714" y2="73140"/>
                        <a14:foregroundMark x1="28571" y1="52066" x2="28571" y2="52066"/>
                        <a14:foregroundMark x1="26891" y1="52066" x2="26891" y2="52066"/>
                      </a14:backgroundRemoval>
                    </a14:imgEffect>
                  </a14:imgLayer>
                </a14:imgProps>
              </a:ext>
            </a:extLst>
          </a:blip>
          <a:srcRect l="11084" t="828" r="11298" b="24850"/>
          <a:stretch/>
        </p:blipFill>
        <p:spPr>
          <a:xfrm>
            <a:off x="7993766" y="513430"/>
            <a:ext cx="978634" cy="9522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0" name="Picture 19" descr="A person smiling for the camera&#10;&#10;Description generated with very high confidence">
            <a:extLst>
              <a:ext uri="{FF2B5EF4-FFF2-40B4-BE49-F238E27FC236}">
                <a16:creationId xmlns:a16="http://schemas.microsoft.com/office/drawing/2014/main" id="{C9168E7A-46D4-2702-55F0-DAE26859664C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025" b="73967" l="17227" r="85714">
                        <a14:foregroundMark x1="26891" y1="65289" x2="67227" y2="69835"/>
                        <a14:foregroundMark x1="67227" y1="69835" x2="65966" y2="56198"/>
                        <a14:foregroundMark x1="81513" y1="63223" x2="42017" y2="73554"/>
                        <a14:foregroundMark x1="42017" y1="73554" x2="28571" y2="72727"/>
                        <a14:foregroundMark x1="77731" y1="71901" x2="82773" y2="69008"/>
                        <a14:foregroundMark x1="83613" y1="73967" x2="83613" y2="73967"/>
                        <a14:foregroundMark x1="85714" y1="73140" x2="85714" y2="73140"/>
                        <a14:foregroundMark x1="28571" y1="52066" x2="28571" y2="52066"/>
                        <a14:foregroundMark x1="26891" y1="52066" x2="26891" y2="52066"/>
                      </a14:backgroundRemoval>
                    </a14:imgEffect>
                  </a14:imgLayer>
                </a14:imgProps>
              </a:ext>
            </a:extLst>
          </a:blip>
          <a:srcRect l="11084" t="828" r="11298" b="24850"/>
          <a:stretch/>
        </p:blipFill>
        <p:spPr>
          <a:xfrm>
            <a:off x="5262173" y="2735625"/>
            <a:ext cx="860884" cy="83767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6" name="Picture 25" descr="A person smiling for a selfie&#10;&#10;AI-generated content may be incorrect.">
            <a:extLst>
              <a:ext uri="{FF2B5EF4-FFF2-40B4-BE49-F238E27FC236}">
                <a16:creationId xmlns:a16="http://schemas.microsoft.com/office/drawing/2014/main" id="{C1981993-DB4F-7CCA-9582-07C4979E7D60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1447" y="4262457"/>
            <a:ext cx="736140" cy="982544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CA82A53-879A-19D1-7780-0A0DE81C9D72}"/>
              </a:ext>
            </a:extLst>
          </p:cNvPr>
          <p:cNvSpPr>
            <a:spLocks/>
          </p:cNvSpPr>
          <p:nvPr/>
        </p:nvSpPr>
        <p:spPr>
          <a:xfrm>
            <a:off x="4957804" y="5077523"/>
            <a:ext cx="1541445" cy="407847"/>
          </a:xfrm>
          <a:prstGeom prst="round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prstClr val="black"/>
                </a:solidFill>
                <a:latin typeface="Arial"/>
              </a:rPr>
              <a:t>Ariadne Azeredo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100">
                <a:solidFill>
                  <a:prstClr val="black"/>
                </a:solidFill>
                <a:latin typeface="Arial"/>
              </a:rPr>
              <a:t>(Sucuriú project)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A29BB875-31C5-5A0C-FF58-D28F6AA82FC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586EE00-BDD7-4BD6-957D-4236DF9E2C7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777E47E2-B88B-734B-7CEC-D78A9EB56E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Valmet   |   MKT LatAm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E646F9C-1C88-94E1-8D54-4B6E72E100C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16943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E9B47-190E-8313-04DA-03BE6813A8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2954BC-BED6-28E0-3237-C46100C291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913" y="1124744"/>
            <a:ext cx="6480670" cy="5184576"/>
          </a:xfrm>
        </p:spPr>
        <p:txBody>
          <a:bodyPr/>
          <a:lstStyle/>
          <a:p>
            <a:pPr marL="0" indent="0">
              <a:buNone/>
            </a:pPr>
            <a:r>
              <a:rPr lang="en-US" sz="1600" b="1"/>
              <a:t>Strategic Planning &amp; Budgeting</a:t>
            </a:r>
          </a:p>
          <a:p>
            <a:pPr marL="0" indent="0">
              <a:buNone/>
            </a:pPr>
            <a:r>
              <a:rPr lang="en-US" sz="1600"/>
              <a:t>  - Annual planning aligned with business priorities</a:t>
            </a:r>
          </a:p>
          <a:p>
            <a:pPr marL="0" indent="0">
              <a:buNone/>
            </a:pPr>
            <a:r>
              <a:rPr lang="en-US" sz="1600"/>
              <a:t>  - Budget follow-up and provision for marketing activities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 b="1"/>
              <a:t>Content Development</a:t>
            </a:r>
          </a:p>
          <a:p>
            <a:pPr marL="0" indent="0">
              <a:buNone/>
            </a:pPr>
            <a:r>
              <a:rPr lang="en-US" sz="1600"/>
              <a:t>  - Local and global content creation related to LatAm BA (articles, videos, banners) - - including Flow (internal channel)</a:t>
            </a:r>
          </a:p>
          <a:p>
            <a:pPr>
              <a:buFontTx/>
              <a:buChar char="-"/>
            </a:pPr>
            <a:r>
              <a:rPr lang="en-US" sz="1600"/>
              <a:t>Translations and scheduling of publications</a:t>
            </a:r>
          </a:p>
          <a:p>
            <a:pPr>
              <a:buFontTx/>
              <a:buChar char="-"/>
            </a:pPr>
            <a:r>
              <a:rPr lang="en-US" sz="1600"/>
              <a:t>Forward Magazine process (meetings to discuss topics, content development, review, supplement translation review)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 b="1"/>
              <a:t>Campaigns</a:t>
            </a:r>
          </a:p>
          <a:p>
            <a:pPr marL="0" indent="0">
              <a:buNone/>
            </a:pPr>
            <a:r>
              <a:rPr lang="en-US" sz="1600"/>
              <a:t>  - Organic campaigns</a:t>
            </a:r>
          </a:p>
          <a:p>
            <a:pPr marL="0" indent="0">
              <a:buNone/>
            </a:pPr>
            <a:r>
              <a:rPr lang="en-US" sz="1600"/>
              <a:t>  - Strategy definition, asset creation, performance tracking</a:t>
            </a:r>
          </a:p>
          <a:p>
            <a:pPr marL="0" indent="0">
              <a:buNone/>
            </a:pPr>
            <a:r>
              <a:rPr lang="en-US" sz="1600"/>
              <a:t>  - Localization of global campaigns</a:t>
            </a:r>
          </a:p>
          <a:p>
            <a:endParaRPr lang="en-US"/>
          </a:p>
        </p:txBody>
      </p:sp>
      <p:pic>
        <p:nvPicPr>
          <p:cNvPr id="11" name="Content Placeholder 10" descr="A diagram of marketing and communications&#10;&#10;AI-generated content may be incorrect.">
            <a:extLst>
              <a:ext uri="{FF2B5EF4-FFF2-40B4-BE49-F238E27FC236}">
                <a16:creationId xmlns:a16="http://schemas.microsoft.com/office/drawing/2014/main" id="{A23C91CD-BA73-3C4C-9BC7-267CBE68C56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675" y="1124744"/>
            <a:ext cx="4656921" cy="4763223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61037F-38A2-D235-8362-13192F8AC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F674D-3F90-42A6-B024-DD13F39F365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5F055B-8930-F272-F72C-F2C793AEF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MKT LatA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3CDAAE-90BD-CE82-123B-CF3931479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9A3FB71-134C-A919-D5E1-5E1331310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responsibilities </a:t>
            </a:r>
          </a:p>
        </p:txBody>
      </p:sp>
    </p:spTree>
    <p:extLst>
      <p:ext uri="{BB962C8B-B14F-4D97-AF65-F5344CB8AC3E}">
        <p14:creationId xmlns:p14="http://schemas.microsoft.com/office/powerpoint/2010/main" val="327582994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A49739-A5D9-48DE-C874-327B68D040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913" y="1124744"/>
            <a:ext cx="6480670" cy="5184576"/>
          </a:xfrm>
        </p:spPr>
        <p:txBody>
          <a:bodyPr/>
          <a:lstStyle/>
          <a:p>
            <a:pPr marL="0" indent="0">
              <a:buNone/>
            </a:pPr>
            <a:r>
              <a:rPr lang="en-US" sz="1600" b="1"/>
              <a:t>References</a:t>
            </a:r>
          </a:p>
          <a:p>
            <a:pPr marL="0" indent="0">
              <a:buNone/>
            </a:pPr>
            <a:r>
              <a:rPr lang="en-US" sz="1600"/>
              <a:t>  - Success stories development and promotion</a:t>
            </a:r>
          </a:p>
          <a:p>
            <a:pPr marL="0" indent="0">
              <a:buNone/>
            </a:pPr>
            <a:r>
              <a:rPr lang="en-US" sz="1600"/>
              <a:t>  - Customer approvals, photoshoots, global alignment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 b="1"/>
              <a:t>Events</a:t>
            </a:r>
          </a:p>
          <a:p>
            <a:pPr marL="0" indent="0">
              <a:buNone/>
            </a:pPr>
            <a:r>
              <a:rPr lang="en-US" sz="1600"/>
              <a:t>  - Trade fairs, seminars, Valmet events</a:t>
            </a:r>
          </a:p>
          <a:p>
            <a:pPr marL="0" indent="0">
              <a:buNone/>
            </a:pPr>
            <a:r>
              <a:rPr lang="en-US" sz="1600"/>
              <a:t>  - Planning, logistics, branding, lead generation</a:t>
            </a:r>
          </a:p>
          <a:p>
            <a:pPr marL="0" indent="0">
              <a:buNone/>
            </a:pPr>
            <a:r>
              <a:rPr lang="en-US" sz="1600"/>
              <a:t>  - Event communication and post-event coverage</a:t>
            </a:r>
          </a:p>
          <a:p>
            <a:pPr marL="0" indent="0">
              <a:buNone/>
            </a:pPr>
            <a:r>
              <a:rPr lang="en-US" sz="1600"/>
              <a:t>  - Post-event reporting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 b="1"/>
              <a:t>Merchandising</a:t>
            </a:r>
          </a:p>
          <a:p>
            <a:pPr marL="0" indent="0">
              <a:buNone/>
            </a:pPr>
            <a:r>
              <a:rPr lang="en-US" sz="1600"/>
              <a:t>  - Design and purchase of promotional items</a:t>
            </a:r>
          </a:p>
          <a:p>
            <a:pPr marL="0" indent="0">
              <a:buNone/>
            </a:pPr>
            <a:r>
              <a:rPr lang="en-US" sz="1600"/>
              <a:t>  - Inventory control and distribution</a:t>
            </a:r>
          </a:p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BAFD63-C870-48E4-1BA9-9AD751BAA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F674D-3F90-42A6-B024-DD13F39F365E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D37D71-C6C3-C530-D314-FD10001A6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MKT LatA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96995D-87D6-C96A-58E6-DDDDED461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75C3C2-B3EE-048B-0861-27968EE13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responsibilities 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D0CF42D4-2B5B-3C1D-811B-0C21CBA4BB72}"/>
              </a:ext>
            </a:extLst>
          </p:cNvPr>
          <p:cNvSpPr txBox="1">
            <a:spLocks/>
          </p:cNvSpPr>
          <p:nvPr/>
        </p:nvSpPr>
        <p:spPr>
          <a:xfrm>
            <a:off x="6394670" y="1124744"/>
            <a:ext cx="5328592" cy="4464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sz="20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rgbClr val="242527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/>
              <a:t>Digital Marketing </a:t>
            </a:r>
          </a:p>
          <a:p>
            <a:pPr marL="0" indent="0">
              <a:buNone/>
            </a:pPr>
            <a:r>
              <a:rPr lang="en-US" sz="1600"/>
              <a:t>- Website content localization and updates</a:t>
            </a:r>
          </a:p>
          <a:p>
            <a:pPr marL="0" indent="0">
              <a:buNone/>
            </a:pPr>
            <a:r>
              <a:rPr lang="en-US" sz="1600"/>
              <a:t> - Social media content creation and scheduling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 b="1"/>
              <a:t>Business &amp; Partner Support</a:t>
            </a:r>
          </a:p>
          <a:p>
            <a:pPr marL="0" indent="0">
              <a:buNone/>
            </a:pPr>
            <a:r>
              <a:rPr lang="en-US" sz="1600"/>
              <a:t>  - Sales materials (presentations, leaflets)</a:t>
            </a:r>
          </a:p>
          <a:p>
            <a:pPr marL="0" indent="0">
              <a:buNone/>
            </a:pPr>
            <a:r>
              <a:rPr lang="en-US" sz="1600"/>
              <a:t>  - Branding alignment and event support for partner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34513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: Rounded Corners 1029">
            <a:extLst>
              <a:ext uri="{FF2B5EF4-FFF2-40B4-BE49-F238E27FC236}">
                <a16:creationId xmlns:a16="http://schemas.microsoft.com/office/drawing/2014/main" id="{CEF8A8E1-F687-7A0B-B847-91F72B12D2D4}"/>
              </a:ext>
            </a:extLst>
          </p:cNvPr>
          <p:cNvSpPr/>
          <p:nvPr/>
        </p:nvSpPr>
        <p:spPr>
          <a:xfrm>
            <a:off x="7167967" y="3112355"/>
            <a:ext cx="2868614" cy="843329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CC2D905-6AB3-A2B7-03DC-C24064D1F05F}"/>
              </a:ext>
            </a:extLst>
          </p:cNvPr>
          <p:cNvSpPr/>
          <p:nvPr/>
        </p:nvSpPr>
        <p:spPr>
          <a:xfrm>
            <a:off x="1683669" y="4854296"/>
            <a:ext cx="1176919" cy="573320"/>
          </a:xfrm>
          <a:prstGeom prst="roundRect">
            <a:avLst/>
          </a:prstGeom>
          <a:solidFill>
            <a:srgbClr val="BDB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2EEF660D-B567-4AB5-BD3F-81CF6DDDD12F}"/>
              </a:ext>
            </a:extLst>
          </p:cNvPr>
          <p:cNvSpPr/>
          <p:nvPr/>
        </p:nvSpPr>
        <p:spPr>
          <a:xfrm>
            <a:off x="269769" y="3073543"/>
            <a:ext cx="4438497" cy="9544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200">
                <a:solidFill>
                  <a:srgbClr val="008ABA"/>
                </a:solidFill>
              </a:rPr>
              <a:t>Leads per BA *Octo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8ABA"/>
                </a:solidFill>
              </a:rPr>
              <a:t>PAC: 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8ABA"/>
                </a:solidFill>
              </a:rPr>
              <a:t>PEC: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8ABA"/>
                </a:solidFill>
              </a:rPr>
              <a:t>SER: 0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219420" y="115019"/>
            <a:ext cx="6629399" cy="575914"/>
          </a:xfrm>
          <a:prstGeom prst="round2DiagRect">
            <a:avLst>
              <a:gd name="adj1" fmla="val 41356"/>
              <a:gd name="adj2" fmla="val 0"/>
            </a:avLst>
          </a:prstGeom>
          <a:solidFill>
            <a:schemeClr val="accent5"/>
          </a:solidFill>
        </p:spPr>
        <p:txBody>
          <a:bodyPr vert="horz" lIns="179953" tIns="161958" rIns="179953" bIns="161958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1500" b="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399" b="1" kern="0">
                <a:solidFill>
                  <a:prstClr val="white"/>
                </a:solidFill>
                <a:latin typeface="Arial"/>
              </a:rPr>
              <a:t>External Events</a:t>
            </a: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F3AC227-1234-4DAF-BAC3-53817BB6982E}"/>
              </a:ext>
            </a:extLst>
          </p:cNvPr>
          <p:cNvSpPr/>
          <p:nvPr/>
        </p:nvSpPr>
        <p:spPr>
          <a:xfrm>
            <a:off x="8185276" y="3825010"/>
            <a:ext cx="611841" cy="611841"/>
          </a:xfrm>
          <a:prstGeom prst="ellips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799">
              <a:solidFill>
                <a:prstClr val="black"/>
              </a:solidFill>
              <a:latin typeface="Arial"/>
            </a:endParaRPr>
          </a:p>
        </p:txBody>
      </p:sp>
      <p:sp>
        <p:nvSpPr>
          <p:cNvPr id="214" name="Title 2">
            <a:extLst>
              <a:ext uri="{FF2B5EF4-FFF2-40B4-BE49-F238E27FC236}">
                <a16:creationId xmlns:a16="http://schemas.microsoft.com/office/drawing/2014/main" id="{0C815437-3B68-4E76-9764-EFC14F2A6B6D}"/>
              </a:ext>
            </a:extLst>
          </p:cNvPr>
          <p:cNvSpPr txBox="1">
            <a:spLocks/>
          </p:cNvSpPr>
          <p:nvPr/>
        </p:nvSpPr>
        <p:spPr>
          <a:xfrm>
            <a:off x="211005" y="4077714"/>
            <a:ext cx="4497261" cy="575914"/>
          </a:xfrm>
          <a:prstGeom prst="round2DiagRect">
            <a:avLst>
              <a:gd name="adj1" fmla="val 41356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179953" tIns="161958" rIns="179953" bIns="161958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1500" b="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399" b="1" kern="0">
                <a:solidFill>
                  <a:prstClr val="white"/>
                </a:solidFill>
                <a:latin typeface="Arial"/>
              </a:rPr>
              <a:t>Social Media</a:t>
            </a:r>
          </a:p>
        </p:txBody>
      </p:sp>
      <p:sp>
        <p:nvSpPr>
          <p:cNvPr id="230" name="Title 2">
            <a:extLst>
              <a:ext uri="{FF2B5EF4-FFF2-40B4-BE49-F238E27FC236}">
                <a16:creationId xmlns:a16="http://schemas.microsoft.com/office/drawing/2014/main" id="{8C9C6F52-7A72-4EF2-980A-B77B41FA1CC7}"/>
              </a:ext>
            </a:extLst>
          </p:cNvPr>
          <p:cNvSpPr txBox="1">
            <a:spLocks/>
          </p:cNvSpPr>
          <p:nvPr/>
        </p:nvSpPr>
        <p:spPr>
          <a:xfrm>
            <a:off x="5047644" y="4076552"/>
            <a:ext cx="4176057" cy="575914"/>
          </a:xfrm>
          <a:prstGeom prst="round2DiagRect">
            <a:avLst>
              <a:gd name="adj1" fmla="val 41356"/>
              <a:gd name="adj2" fmla="val 0"/>
            </a:avLst>
          </a:prstGeom>
          <a:solidFill>
            <a:schemeClr val="accent1"/>
          </a:solidFill>
        </p:spPr>
        <p:txBody>
          <a:bodyPr vert="horz" lIns="179953" tIns="161958" rIns="179953" bIns="161958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2399" b="1">
                <a:latin typeface="Arial"/>
              </a:rPr>
              <a:t>Media / Press</a:t>
            </a:r>
          </a:p>
        </p:txBody>
      </p:sp>
      <p:pic>
        <p:nvPicPr>
          <p:cNvPr id="245" name="Graphic 244" descr="Champagne glasses">
            <a:extLst>
              <a:ext uri="{FF2B5EF4-FFF2-40B4-BE49-F238E27FC236}">
                <a16:creationId xmlns:a16="http://schemas.microsoft.com/office/drawing/2014/main" id="{D7B7B89D-0E6F-4015-92BE-4415CB39F7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0436" y="150025"/>
            <a:ext cx="469110" cy="469110"/>
          </a:xfrm>
          <a:prstGeom prst="rect">
            <a:avLst/>
          </a:prstGeom>
        </p:spPr>
      </p:pic>
      <p:pic>
        <p:nvPicPr>
          <p:cNvPr id="34" name="Graphic 33" descr="Teacher">
            <a:extLst>
              <a:ext uri="{FF2B5EF4-FFF2-40B4-BE49-F238E27FC236}">
                <a16:creationId xmlns:a16="http://schemas.microsoft.com/office/drawing/2014/main" id="{13F560EC-1AEC-49DA-A5CE-95D2DC1D85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768" y="461833"/>
            <a:ext cx="1483884" cy="1468847"/>
          </a:xfrm>
          <a:prstGeom prst="rect">
            <a:avLst/>
          </a:prstGeom>
        </p:spPr>
      </p:pic>
      <p:pic>
        <p:nvPicPr>
          <p:cNvPr id="44" name="Graphic 43" descr="Internet">
            <a:extLst>
              <a:ext uri="{FF2B5EF4-FFF2-40B4-BE49-F238E27FC236}">
                <a16:creationId xmlns:a16="http://schemas.microsoft.com/office/drawing/2014/main" id="{4BE5EB8E-111D-46F2-B9E8-0839CBBA87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7164" y="4094762"/>
            <a:ext cx="516021" cy="516021"/>
          </a:xfrm>
          <a:prstGeom prst="rect">
            <a:avLst/>
          </a:prstGeom>
        </p:spPr>
      </p:pic>
      <p:pic>
        <p:nvPicPr>
          <p:cNvPr id="257" name="Graphic 256" descr="Newspaper">
            <a:extLst>
              <a:ext uri="{FF2B5EF4-FFF2-40B4-BE49-F238E27FC236}">
                <a16:creationId xmlns:a16="http://schemas.microsoft.com/office/drawing/2014/main" id="{B8834766-E3F2-401B-B28F-9111EFC251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17652" y="4138232"/>
            <a:ext cx="469110" cy="469110"/>
          </a:xfrm>
          <a:prstGeom prst="rect">
            <a:avLst/>
          </a:prstGeom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86D686D-9C31-4570-B4DF-EA87AB0A0DC3}"/>
              </a:ext>
            </a:extLst>
          </p:cNvPr>
          <p:cNvSpPr txBox="1"/>
          <p:nvPr/>
        </p:nvSpPr>
        <p:spPr>
          <a:xfrm>
            <a:off x="549657" y="1515838"/>
            <a:ext cx="1111726" cy="241917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050" b="1">
                <a:solidFill>
                  <a:schemeClr val="accent5"/>
                </a:solidFill>
              </a:rPr>
              <a:t># </a:t>
            </a:r>
            <a:r>
              <a:rPr lang="pt-BR" sz="1050" b="1" err="1">
                <a:solidFill>
                  <a:schemeClr val="accent5"/>
                </a:solidFill>
              </a:rPr>
              <a:t>performed</a:t>
            </a:r>
            <a:endParaRPr lang="pt-BR" sz="1050" b="1">
              <a:solidFill>
                <a:schemeClr val="accent5"/>
              </a:solidFill>
            </a:endParaRPr>
          </a:p>
        </p:txBody>
      </p:sp>
      <p:sp>
        <p:nvSpPr>
          <p:cNvPr id="283" name="Rectangle: Rounded Corners 282">
            <a:extLst>
              <a:ext uri="{FF2B5EF4-FFF2-40B4-BE49-F238E27FC236}">
                <a16:creationId xmlns:a16="http://schemas.microsoft.com/office/drawing/2014/main" id="{FADC31D7-5D98-4C65-8C53-918BB47F9B21}"/>
              </a:ext>
            </a:extLst>
          </p:cNvPr>
          <p:cNvSpPr/>
          <p:nvPr/>
        </p:nvSpPr>
        <p:spPr>
          <a:xfrm>
            <a:off x="2434818" y="3164070"/>
            <a:ext cx="1727742" cy="77439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999" b="1">
                <a:solidFill>
                  <a:srgbClr val="008ABA"/>
                </a:solidFill>
              </a:rPr>
              <a:t>348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28802C0E-970C-4BD2-BDF8-28A6FEE970EB}"/>
              </a:ext>
            </a:extLst>
          </p:cNvPr>
          <p:cNvSpPr txBox="1"/>
          <p:nvPr/>
        </p:nvSpPr>
        <p:spPr>
          <a:xfrm>
            <a:off x="932875" y="738244"/>
            <a:ext cx="527938" cy="565127"/>
          </a:xfrm>
          <a:prstGeom prst="rect">
            <a:avLst/>
          </a:prstGeom>
          <a:noFill/>
        </p:spPr>
        <p:txBody>
          <a:bodyPr wrap="none" lIns="35991" tIns="35991" rIns="35991" bIns="35991" rtlCol="0">
            <a:spAutoFit/>
          </a:bodyPr>
          <a:lstStyle/>
          <a:p>
            <a:r>
              <a:rPr lang="pt-BR" sz="3200" b="1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110D56D6-F7F4-4B8D-858D-611574A9E59B}"/>
              </a:ext>
            </a:extLst>
          </p:cNvPr>
          <p:cNvSpPr txBox="1"/>
          <p:nvPr/>
        </p:nvSpPr>
        <p:spPr>
          <a:xfrm>
            <a:off x="326728" y="4984041"/>
            <a:ext cx="1320164" cy="234268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05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Number</a:t>
            </a:r>
            <a:r>
              <a:rPr lang="pt-BR" sz="1050" b="1">
                <a:solidFill>
                  <a:schemeClr val="tx1">
                    <a:lumMod val="50000"/>
                    <a:lumOff val="50000"/>
                  </a:schemeClr>
                </a:solidFill>
              </a:rPr>
              <a:t> of posts: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3B077746-9ECB-4DF5-8318-1240F67459A7}"/>
              </a:ext>
            </a:extLst>
          </p:cNvPr>
          <p:cNvGrpSpPr/>
          <p:nvPr/>
        </p:nvGrpSpPr>
        <p:grpSpPr>
          <a:xfrm>
            <a:off x="3024463" y="4579171"/>
            <a:ext cx="1641550" cy="1179172"/>
            <a:chOff x="1498267" y="6173374"/>
            <a:chExt cx="757843" cy="707694"/>
          </a:xfrm>
        </p:grpSpPr>
        <p:pic>
          <p:nvPicPr>
            <p:cNvPr id="330" name="Graphic 329" descr="Thumbs up sign">
              <a:extLst>
                <a:ext uri="{FF2B5EF4-FFF2-40B4-BE49-F238E27FC236}">
                  <a16:creationId xmlns:a16="http://schemas.microsoft.com/office/drawing/2014/main" id="{0FE7BD1C-00C8-4350-BBFC-45CAF9E12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498267" y="6173374"/>
              <a:ext cx="707694" cy="707694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31" name="Rectangle: Rounded Corners 330">
              <a:extLst>
                <a:ext uri="{FF2B5EF4-FFF2-40B4-BE49-F238E27FC236}">
                  <a16:creationId xmlns:a16="http://schemas.microsoft.com/office/drawing/2014/main" id="{38DA1EE3-36D8-4555-8013-4D2AA745610A}"/>
                </a:ext>
              </a:extLst>
            </p:cNvPr>
            <p:cNvSpPr/>
            <p:nvPr/>
          </p:nvSpPr>
          <p:spPr>
            <a:xfrm>
              <a:off x="1568394" y="6444844"/>
              <a:ext cx="687716" cy="29219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300" b="1">
                  <a:solidFill>
                    <a:schemeClr val="bg1"/>
                  </a:solidFill>
                </a:rPr>
                <a:t>135.897</a:t>
              </a:r>
            </a:p>
          </p:txBody>
        </p:sp>
      </p:grpSp>
      <p:sp>
        <p:nvSpPr>
          <p:cNvPr id="341" name="TextBox 340">
            <a:extLst>
              <a:ext uri="{FF2B5EF4-FFF2-40B4-BE49-F238E27FC236}">
                <a16:creationId xmlns:a16="http://schemas.microsoft.com/office/drawing/2014/main" id="{02EE5B0F-5544-4250-85CE-6B53FFFB0F32}"/>
              </a:ext>
            </a:extLst>
          </p:cNvPr>
          <p:cNvSpPr txBox="1"/>
          <p:nvPr/>
        </p:nvSpPr>
        <p:spPr>
          <a:xfrm>
            <a:off x="2935598" y="5628278"/>
            <a:ext cx="1486829" cy="395850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05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Engagement</a:t>
            </a:r>
            <a:endParaRPr lang="pt-BR" sz="1050" b="1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r>
              <a:rPr lang="pt-BR" sz="1050" i="1">
                <a:solidFill>
                  <a:schemeClr val="tx1">
                    <a:lumMod val="50000"/>
                    <a:lumOff val="50000"/>
                  </a:schemeClr>
                </a:solidFill>
              </a:rPr>
              <a:t>Target: 134.000</a:t>
            </a:r>
          </a:p>
        </p:txBody>
      </p:sp>
      <p:sp>
        <p:nvSpPr>
          <p:cNvPr id="342" name="Rectangle: Rounded Corners 341">
            <a:extLst>
              <a:ext uri="{FF2B5EF4-FFF2-40B4-BE49-F238E27FC236}">
                <a16:creationId xmlns:a16="http://schemas.microsoft.com/office/drawing/2014/main" id="{2A443991-2395-41E0-8C87-4DB186F9EEC7}"/>
              </a:ext>
            </a:extLst>
          </p:cNvPr>
          <p:cNvSpPr/>
          <p:nvPr/>
        </p:nvSpPr>
        <p:spPr>
          <a:xfrm rot="16200000">
            <a:off x="133340" y="5506616"/>
            <a:ext cx="1162107" cy="65011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399" b="1">
                <a:solidFill>
                  <a:schemeClr val="tx1">
                    <a:lumMod val="50000"/>
                    <a:lumOff val="50000"/>
                  </a:schemeClr>
                </a:solidFill>
              </a:rPr>
              <a:t>31*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E9C0A555-4A31-49CB-A2B4-67B3CD4E9A77}"/>
              </a:ext>
            </a:extLst>
          </p:cNvPr>
          <p:cNvSpPr txBox="1"/>
          <p:nvPr/>
        </p:nvSpPr>
        <p:spPr>
          <a:xfrm>
            <a:off x="9842345" y="777118"/>
            <a:ext cx="1154674" cy="288072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4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References</a:t>
            </a:r>
            <a:endParaRPr lang="pt-BR" sz="14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8" name="Rectangle: Rounded Corners 377">
            <a:extLst>
              <a:ext uri="{FF2B5EF4-FFF2-40B4-BE49-F238E27FC236}">
                <a16:creationId xmlns:a16="http://schemas.microsoft.com/office/drawing/2014/main" id="{F010FADE-ABEB-466A-9ADA-A074A32E1B6A}"/>
              </a:ext>
            </a:extLst>
          </p:cNvPr>
          <p:cNvSpPr/>
          <p:nvPr/>
        </p:nvSpPr>
        <p:spPr>
          <a:xfrm>
            <a:off x="10057122" y="1244904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E845B0-FF06-79B6-B4D4-880494DAD03C}"/>
              </a:ext>
            </a:extLst>
          </p:cNvPr>
          <p:cNvSpPr/>
          <p:nvPr/>
        </p:nvSpPr>
        <p:spPr>
          <a:xfrm>
            <a:off x="10922123" y="150025"/>
            <a:ext cx="792088" cy="254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DD6199AE-EA47-4399-8F09-4117740FF08A}"/>
              </a:ext>
            </a:extLst>
          </p:cNvPr>
          <p:cNvSpPr txBox="1"/>
          <p:nvPr/>
        </p:nvSpPr>
        <p:spPr>
          <a:xfrm>
            <a:off x="9303252" y="4252910"/>
            <a:ext cx="2868614" cy="1900916"/>
          </a:xfrm>
          <a:prstGeom prst="rect">
            <a:avLst/>
          </a:prstGeom>
          <a:noFill/>
        </p:spPr>
        <p:txBody>
          <a:bodyPr wrap="square" lIns="26993" tIns="26993" rIns="26993" bIns="26993" rtlCol="0">
            <a:spAutoFit/>
          </a:bodyPr>
          <a:lstStyle/>
          <a:p>
            <a:pPr algn="ctr" defTabSz="685594">
              <a:defRPr/>
            </a:pPr>
            <a:r>
              <a:rPr lang="pt-BR" sz="3599" ker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  <a:t>Marketing KPIs</a:t>
            </a:r>
            <a:br>
              <a:rPr lang="pt-BR" sz="3599" ker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</a:br>
            <a:r>
              <a:rPr lang="pt-BR" sz="2400" ker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  <a:t>2025 – until Octob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022A52-5453-0AA0-E546-F893936DD2A9}"/>
              </a:ext>
            </a:extLst>
          </p:cNvPr>
          <p:cNvSpPr txBox="1"/>
          <p:nvPr/>
        </p:nvSpPr>
        <p:spPr>
          <a:xfrm>
            <a:off x="980203" y="5568511"/>
            <a:ext cx="79205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BAs</a:t>
            </a:r>
            <a:endParaRPr lang="pt-BR" sz="1000" b="1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SER: 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PAC: 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PEC: 4 </a:t>
            </a:r>
            <a:endParaRPr lang="pt-BR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D36587-363A-7ED4-BD5A-ACE1B25D05B9}"/>
              </a:ext>
            </a:extLst>
          </p:cNvPr>
          <p:cNvSpPr txBox="1"/>
          <p:nvPr/>
        </p:nvSpPr>
        <p:spPr>
          <a:xfrm>
            <a:off x="1962846" y="6027596"/>
            <a:ext cx="233720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Engagement rate 13,9%</a:t>
            </a:r>
          </a:p>
          <a:p>
            <a:r>
              <a:rPr lang="en-US" sz="1000" i="1">
                <a:solidFill>
                  <a:schemeClr val="tx1">
                    <a:lumMod val="50000"/>
                    <a:lumOff val="50000"/>
                  </a:schemeClr>
                </a:solidFill>
              </a:rPr>
              <a:t>Target: 8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E27D97-A857-B69B-6F69-265F4AA71DBA}"/>
              </a:ext>
            </a:extLst>
          </p:cNvPr>
          <p:cNvSpPr txBox="1"/>
          <p:nvPr/>
        </p:nvSpPr>
        <p:spPr>
          <a:xfrm>
            <a:off x="2624785" y="3145081"/>
            <a:ext cx="1393460" cy="241917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050" b="1">
                <a:solidFill>
                  <a:schemeClr val="accent5"/>
                </a:solidFill>
              </a:rPr>
              <a:t>Leads (YTD)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01C0C80B-C15B-6D97-3702-276611E12811}"/>
              </a:ext>
            </a:extLst>
          </p:cNvPr>
          <p:cNvSpPr txBox="1">
            <a:spLocks/>
          </p:cNvSpPr>
          <p:nvPr/>
        </p:nvSpPr>
        <p:spPr>
          <a:xfrm>
            <a:off x="7317366" y="130141"/>
            <a:ext cx="4497261" cy="575914"/>
          </a:xfrm>
          <a:prstGeom prst="round2DiagRect">
            <a:avLst>
              <a:gd name="adj1" fmla="val 41356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179953" tIns="161958" rIns="179953" bIns="161958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1500" b="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399" b="1" kern="0">
                <a:solidFill>
                  <a:prstClr val="white"/>
                </a:solidFill>
                <a:latin typeface="Arial"/>
              </a:rPr>
              <a:t>Marketing Cont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BAF8C8-B312-EC8C-F07D-C5226E897533}"/>
              </a:ext>
            </a:extLst>
          </p:cNvPr>
          <p:cNvSpPr txBox="1"/>
          <p:nvPr/>
        </p:nvSpPr>
        <p:spPr>
          <a:xfrm>
            <a:off x="7110110" y="765283"/>
            <a:ext cx="1665454" cy="288072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4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Ads</a:t>
            </a:r>
            <a:endParaRPr lang="pt-BR" sz="14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FA4833-E271-6F54-9545-99A1EA50AB25}"/>
              </a:ext>
            </a:extLst>
          </p:cNvPr>
          <p:cNvSpPr/>
          <p:nvPr/>
        </p:nvSpPr>
        <p:spPr>
          <a:xfrm>
            <a:off x="6185012" y="1316440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17F3245-FB25-E744-2A40-78ED2538CA88}"/>
              </a:ext>
            </a:extLst>
          </p:cNvPr>
          <p:cNvSpPr/>
          <p:nvPr/>
        </p:nvSpPr>
        <p:spPr>
          <a:xfrm>
            <a:off x="6808431" y="1325777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53093B-68A4-39F6-4E2C-9C64981293E3}"/>
              </a:ext>
            </a:extLst>
          </p:cNvPr>
          <p:cNvSpPr txBox="1"/>
          <p:nvPr/>
        </p:nvSpPr>
        <p:spPr>
          <a:xfrm>
            <a:off x="10422596" y="2204326"/>
            <a:ext cx="1154674" cy="288072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4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Milestones</a:t>
            </a:r>
            <a:endParaRPr lang="pt-BR" sz="14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4ED1F10-1D53-E1AE-CCC0-5BD90F9D1467}"/>
              </a:ext>
            </a:extLst>
          </p:cNvPr>
          <p:cNvSpPr/>
          <p:nvPr/>
        </p:nvSpPr>
        <p:spPr>
          <a:xfrm>
            <a:off x="10180606" y="2707497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2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D675930-4636-AF29-2DFF-BA5719B0CFE4}"/>
              </a:ext>
            </a:extLst>
          </p:cNvPr>
          <p:cNvSpPr txBox="1"/>
          <p:nvPr/>
        </p:nvSpPr>
        <p:spPr>
          <a:xfrm>
            <a:off x="7232064" y="3146668"/>
            <a:ext cx="1154674" cy="288072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4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Products</a:t>
            </a:r>
            <a:endParaRPr lang="pt-BR" sz="14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F105A7B-7F16-15B7-2ED9-598417608712}"/>
              </a:ext>
            </a:extLst>
          </p:cNvPr>
          <p:cNvSpPr/>
          <p:nvPr/>
        </p:nvSpPr>
        <p:spPr>
          <a:xfrm>
            <a:off x="7364904" y="3469071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1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E8674FF-E4FE-5A77-B10F-02AD07F82698}"/>
              </a:ext>
            </a:extLst>
          </p:cNvPr>
          <p:cNvSpPr txBox="1"/>
          <p:nvPr/>
        </p:nvSpPr>
        <p:spPr>
          <a:xfrm>
            <a:off x="8561670" y="3171296"/>
            <a:ext cx="1354722" cy="288129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4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Campaigns</a:t>
            </a:r>
            <a:endParaRPr lang="pt-BR" sz="14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55A5A7BF-6211-3D7F-4FF4-C69F37C93095}"/>
              </a:ext>
            </a:extLst>
          </p:cNvPr>
          <p:cNvSpPr/>
          <p:nvPr/>
        </p:nvSpPr>
        <p:spPr>
          <a:xfrm>
            <a:off x="8747431" y="3431435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1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ABF090A-C3E6-CD75-2A69-BF71E45AD89B}"/>
              </a:ext>
            </a:extLst>
          </p:cNvPr>
          <p:cNvSpPr txBox="1"/>
          <p:nvPr/>
        </p:nvSpPr>
        <p:spPr>
          <a:xfrm>
            <a:off x="10357628" y="3148241"/>
            <a:ext cx="554088" cy="318841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600" b="1">
                <a:solidFill>
                  <a:schemeClr val="tx1">
                    <a:lumMod val="50000"/>
                    <a:lumOff val="50000"/>
                  </a:schemeClr>
                </a:solidFill>
              </a:rPr>
              <a:t>PEC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4D62F29-C3CD-4943-3B51-96887D62A829}"/>
              </a:ext>
            </a:extLst>
          </p:cNvPr>
          <p:cNvSpPr/>
          <p:nvPr/>
        </p:nvSpPr>
        <p:spPr>
          <a:xfrm>
            <a:off x="10879383" y="2683681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1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797D45-D13B-5495-7C9B-E44D7AAF21BA}"/>
              </a:ext>
            </a:extLst>
          </p:cNvPr>
          <p:cNvSpPr txBox="1"/>
          <p:nvPr/>
        </p:nvSpPr>
        <p:spPr>
          <a:xfrm>
            <a:off x="11017155" y="3144688"/>
            <a:ext cx="929551" cy="318906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600" b="1">
                <a:solidFill>
                  <a:schemeClr val="tx1">
                    <a:lumMod val="50000"/>
                    <a:lumOff val="50000"/>
                  </a:schemeClr>
                </a:solidFill>
              </a:rPr>
              <a:t>PAC/T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07FA782-0E1B-C73A-8F0C-B5A7D043E487}"/>
              </a:ext>
            </a:extLst>
          </p:cNvPr>
          <p:cNvSpPr/>
          <p:nvPr/>
        </p:nvSpPr>
        <p:spPr>
          <a:xfrm>
            <a:off x="7021041" y="1103418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6938EC-6D52-0E08-3BF6-7B1BA6413A41}"/>
              </a:ext>
            </a:extLst>
          </p:cNvPr>
          <p:cNvSpPr txBox="1"/>
          <p:nvPr/>
        </p:nvSpPr>
        <p:spPr>
          <a:xfrm>
            <a:off x="440343" y="6243040"/>
            <a:ext cx="168380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* October</a:t>
            </a:r>
            <a:endParaRPr lang="en-US" sz="10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8E50752-FDAB-83CA-BED8-1581C9E5045B}"/>
              </a:ext>
            </a:extLst>
          </p:cNvPr>
          <p:cNvSpPr/>
          <p:nvPr/>
        </p:nvSpPr>
        <p:spPr>
          <a:xfrm>
            <a:off x="1507867" y="4872163"/>
            <a:ext cx="1489649" cy="48686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>
                <a:solidFill>
                  <a:schemeClr val="bg1"/>
                </a:solidFill>
              </a:rPr>
              <a:t>245 YTD</a:t>
            </a:r>
          </a:p>
          <a:p>
            <a:pPr algn="ctr"/>
            <a:r>
              <a:rPr lang="pt-BR" sz="1000" i="1">
                <a:solidFill>
                  <a:schemeClr val="bg1"/>
                </a:solidFill>
              </a:rPr>
              <a:t>Target: 270 </a:t>
            </a:r>
          </a:p>
        </p:txBody>
      </p:sp>
      <p:pic>
        <p:nvPicPr>
          <p:cNvPr id="42" name="Graphic 41" descr="Newspaper">
            <a:extLst>
              <a:ext uri="{FF2B5EF4-FFF2-40B4-BE49-F238E27FC236}">
                <a16:creationId xmlns:a16="http://schemas.microsoft.com/office/drawing/2014/main" id="{1265422C-23F7-134D-8A52-F0776F573ED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9711" y="4510109"/>
            <a:ext cx="2424123" cy="2424123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D5AC60-6D1E-0DDA-9E3B-B764720EDD18}"/>
              </a:ext>
            </a:extLst>
          </p:cNvPr>
          <p:cNvSpPr/>
          <p:nvPr/>
        </p:nvSpPr>
        <p:spPr>
          <a:xfrm>
            <a:off x="5287221" y="5085673"/>
            <a:ext cx="1056295" cy="8009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000" b="1">
                <a:solidFill>
                  <a:schemeClr val="bg1"/>
                </a:solidFill>
              </a:rPr>
              <a:t>1163</a:t>
            </a:r>
          </a:p>
          <a:p>
            <a:pPr algn="ctr"/>
            <a:r>
              <a:rPr lang="pt-BR" sz="1200">
                <a:solidFill>
                  <a:schemeClr val="bg1"/>
                </a:solidFill>
              </a:rPr>
              <a:t>Priority</a:t>
            </a:r>
          </a:p>
          <a:p>
            <a:pPr algn="ctr"/>
            <a:r>
              <a:rPr lang="pt-BR" sz="1200" err="1">
                <a:solidFill>
                  <a:schemeClr val="bg1"/>
                </a:solidFill>
              </a:rPr>
              <a:t>publications</a:t>
            </a:r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3CB7E78-4A84-BEEE-FC9B-8A3E97858346}"/>
              </a:ext>
            </a:extLst>
          </p:cNvPr>
          <p:cNvSpPr/>
          <p:nvPr/>
        </p:nvSpPr>
        <p:spPr>
          <a:xfrm>
            <a:off x="5811800" y="5975477"/>
            <a:ext cx="492315" cy="2769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>
                <a:solidFill>
                  <a:prstClr val="white"/>
                </a:solidFill>
              </a:rPr>
              <a:t>YTD</a:t>
            </a:r>
            <a:endParaRPr lang="pt-BR" sz="1799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7587B68A-6A56-9DC6-3609-38DC2626E0F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551" b="91573" l="9211" r="89474">
                        <a14:foregroundMark x1="28947" y1="89326" x2="50000" y2="91573"/>
                        <a14:foregroundMark x1="50000" y1="91573" x2="51316" y2="910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55210" y="5299107"/>
            <a:ext cx="558254" cy="13470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30FB601A-49C9-9918-7836-613F6D261474}"/>
              </a:ext>
            </a:extLst>
          </p:cNvPr>
          <p:cNvSpPr txBox="1"/>
          <p:nvPr/>
        </p:nvSpPr>
        <p:spPr>
          <a:xfrm>
            <a:off x="7370844" y="5551168"/>
            <a:ext cx="1841363" cy="234268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050" b="1">
                <a:solidFill>
                  <a:schemeClr val="accent1"/>
                </a:solidFill>
              </a:rPr>
              <a:t>Media Priority Valua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58E8C1E-5666-7750-86D1-79933507789E}"/>
              </a:ext>
            </a:extLst>
          </p:cNvPr>
          <p:cNvSpPr txBox="1"/>
          <p:nvPr/>
        </p:nvSpPr>
        <p:spPr>
          <a:xfrm>
            <a:off x="8218343" y="6096836"/>
            <a:ext cx="701324" cy="234268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050" b="1">
                <a:solidFill>
                  <a:schemeClr val="accent1"/>
                </a:solidFill>
              </a:rPr>
              <a:t>YT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BB24591-3A3B-534C-C749-8E443A1A97CF}"/>
              </a:ext>
            </a:extLst>
          </p:cNvPr>
          <p:cNvSpPr txBox="1"/>
          <p:nvPr/>
        </p:nvSpPr>
        <p:spPr>
          <a:xfrm>
            <a:off x="7604509" y="5747088"/>
            <a:ext cx="1482262" cy="472794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r>
              <a:rPr lang="pt-BR" sz="2600" b="1">
                <a:solidFill>
                  <a:srgbClr val="51B94A"/>
                </a:solidFill>
              </a:rPr>
              <a:t>4,04 </a:t>
            </a:r>
            <a:r>
              <a:rPr lang="pt-BR" sz="1200" b="1">
                <a:solidFill>
                  <a:srgbClr val="51B94A"/>
                </a:solidFill>
              </a:rPr>
              <a:t>MEUR</a:t>
            </a:r>
            <a:endParaRPr lang="pt-BR" sz="2799" b="1">
              <a:solidFill>
                <a:srgbClr val="51B94A"/>
              </a:solidFill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8A237CB4-149F-63F3-DE01-3E229B8E9EBC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949" y="1126219"/>
            <a:ext cx="580096" cy="1018237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B4068C9-A6D7-110D-E790-88515520C827}"/>
              </a:ext>
            </a:extLst>
          </p:cNvPr>
          <p:cNvSpPr txBox="1"/>
          <p:nvPr/>
        </p:nvSpPr>
        <p:spPr>
          <a:xfrm>
            <a:off x="7389308" y="6318115"/>
            <a:ext cx="15104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i="1">
                <a:solidFill>
                  <a:schemeClr val="accent1"/>
                </a:solidFill>
              </a:rPr>
              <a:t>Target: 4MEUR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C1B035E-D603-903F-9B12-AF6B0C4A6110}"/>
              </a:ext>
            </a:extLst>
          </p:cNvPr>
          <p:cNvSpPr txBox="1"/>
          <p:nvPr/>
        </p:nvSpPr>
        <p:spPr>
          <a:xfrm>
            <a:off x="6848820" y="4699796"/>
            <a:ext cx="2115054" cy="503572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1400" b="1">
                <a:solidFill>
                  <a:schemeClr val="accent1"/>
                </a:solidFill>
              </a:rPr>
              <a:t>Reach priority media: </a:t>
            </a:r>
          </a:p>
          <a:p>
            <a:pPr algn="ctr"/>
            <a:r>
              <a:rPr lang="pt-BR" sz="1400" b="1">
                <a:solidFill>
                  <a:schemeClr val="accent1"/>
                </a:solidFill>
              </a:rPr>
              <a:t>37,41M YT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967888F-C7ED-9D6F-7EA0-66EFB0736B86}"/>
              </a:ext>
            </a:extLst>
          </p:cNvPr>
          <p:cNvSpPr txBox="1"/>
          <p:nvPr/>
        </p:nvSpPr>
        <p:spPr>
          <a:xfrm>
            <a:off x="7411891" y="5176384"/>
            <a:ext cx="15104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i="1">
                <a:solidFill>
                  <a:schemeClr val="accent1"/>
                </a:solidFill>
              </a:rPr>
              <a:t>Target: 40M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BACA391-C6AA-AE3B-3FF2-302FD717DC35}"/>
              </a:ext>
            </a:extLst>
          </p:cNvPr>
          <p:cNvSpPr txBox="1"/>
          <p:nvPr/>
        </p:nvSpPr>
        <p:spPr>
          <a:xfrm>
            <a:off x="2640876" y="3769266"/>
            <a:ext cx="1393460" cy="211184"/>
          </a:xfrm>
          <a:prstGeom prst="rect">
            <a:avLst/>
          </a:prstGeom>
          <a:noFill/>
        </p:spPr>
        <p:txBody>
          <a:bodyPr wrap="square" lIns="35991" tIns="35991" rIns="35991" bIns="35991" rtlCol="0">
            <a:spAutoFit/>
          </a:bodyPr>
          <a:lstStyle/>
          <a:p>
            <a:pPr algn="ctr"/>
            <a:r>
              <a:rPr lang="pt-BR" sz="900" b="1" i="1">
                <a:solidFill>
                  <a:schemeClr val="accent5"/>
                </a:solidFill>
              </a:rPr>
              <a:t>Target: 342 YTD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BA137-921C-13F0-96A6-EABE3109D02F}"/>
              </a:ext>
            </a:extLst>
          </p:cNvPr>
          <p:cNvSpPr txBox="1"/>
          <p:nvPr/>
        </p:nvSpPr>
        <p:spPr>
          <a:xfrm>
            <a:off x="269768" y="1756894"/>
            <a:ext cx="180699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accent5"/>
                </a:solidFill>
              </a:rPr>
              <a:t>Q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accent5"/>
                </a:solidFill>
              </a:rPr>
              <a:t>Packaging Summit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accent5"/>
                </a:solidFill>
              </a:rPr>
              <a:t>Tissue Summit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err="1">
                <a:solidFill>
                  <a:schemeClr val="accent5"/>
                </a:solidFill>
              </a:rPr>
              <a:t>Acotepac</a:t>
            </a:r>
            <a:r>
              <a:rPr lang="en-US" sz="1000">
                <a:solidFill>
                  <a:schemeClr val="accent5"/>
                </a:solidFill>
              </a:rPr>
              <a:t> - C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err="1">
                <a:solidFill>
                  <a:schemeClr val="accent5"/>
                </a:solidFill>
              </a:rPr>
              <a:t>Fimec</a:t>
            </a:r>
            <a:r>
              <a:rPr lang="en-US" sz="1000">
                <a:solidFill>
                  <a:schemeClr val="accent5"/>
                </a:solidFill>
              </a:rPr>
              <a:t>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accent5"/>
                </a:solidFill>
              </a:rPr>
              <a:t>Desalination Latam - CHI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A2420FF-76DE-CE2E-992B-086209BE57E2}"/>
              </a:ext>
            </a:extLst>
          </p:cNvPr>
          <p:cNvSpPr txBox="1"/>
          <p:nvPr/>
        </p:nvSpPr>
        <p:spPr>
          <a:xfrm>
            <a:off x="1968383" y="626526"/>
            <a:ext cx="284664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accent5"/>
                </a:solidFill>
              </a:rPr>
              <a:t>Q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err="1">
                <a:solidFill>
                  <a:schemeClr val="accent5"/>
                </a:solidFill>
              </a:rPr>
              <a:t>Expomin</a:t>
            </a:r>
            <a:r>
              <a:rPr lang="pt-BR" sz="1000">
                <a:solidFill>
                  <a:schemeClr val="accent5"/>
                </a:solidFill>
              </a:rPr>
              <a:t> - CH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ABTCP - Seminário de Automação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ABTCP - 7º Workshop de Embalagens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Direct </a:t>
            </a:r>
            <a:r>
              <a:rPr lang="pt-BR" sz="1000" err="1">
                <a:solidFill>
                  <a:schemeClr val="accent5"/>
                </a:solidFill>
              </a:rPr>
              <a:t>Lithium</a:t>
            </a:r>
            <a:r>
              <a:rPr lang="pt-BR" sz="1000">
                <a:solidFill>
                  <a:schemeClr val="accent5"/>
                </a:solidFill>
              </a:rPr>
              <a:t> </a:t>
            </a:r>
            <a:r>
              <a:rPr lang="pt-BR" sz="1000" err="1">
                <a:solidFill>
                  <a:schemeClr val="accent5"/>
                </a:solidFill>
              </a:rPr>
              <a:t>Extraction</a:t>
            </a:r>
            <a:r>
              <a:rPr lang="pt-BR" sz="1000">
                <a:solidFill>
                  <a:schemeClr val="accent5"/>
                </a:solidFill>
              </a:rPr>
              <a:t> Argentina - AR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ABTCP - 7° Seminário de Celulose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CMP  - M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Webinar Forno de Cal - ON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ABTCP - 29° Seminário Recuperação e Energia - BR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err="1">
                <a:solidFill>
                  <a:schemeClr val="accent5"/>
                </a:solidFill>
              </a:rPr>
              <a:t>LatamPaper</a:t>
            </a:r>
            <a:r>
              <a:rPr lang="pt-BR" sz="1000">
                <a:solidFill>
                  <a:schemeClr val="accent5"/>
                </a:solidFill>
              </a:rPr>
              <a:t>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err="1">
                <a:solidFill>
                  <a:schemeClr val="accent5"/>
                </a:solidFill>
              </a:rPr>
              <a:t>Feeders</a:t>
            </a:r>
            <a:r>
              <a:rPr lang="pt-BR" sz="1000">
                <a:solidFill>
                  <a:schemeClr val="accent5"/>
                </a:solidFill>
              </a:rPr>
              <a:t> </a:t>
            </a:r>
            <a:r>
              <a:rPr lang="pt-BR" sz="1000" err="1">
                <a:solidFill>
                  <a:schemeClr val="accent5"/>
                </a:solidFill>
              </a:rPr>
              <a:t>Seminar</a:t>
            </a:r>
            <a:r>
              <a:rPr lang="pt-BR" sz="1000">
                <a:solidFill>
                  <a:schemeClr val="accent5"/>
                </a:solidFill>
              </a:rPr>
              <a:t>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Arauco SIM Dinner - BRA</a:t>
            </a:r>
            <a:endParaRPr lang="en-US" sz="1000">
              <a:solidFill>
                <a:schemeClr val="accent5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D79381B-FD53-38E3-BD88-ABFDE9217769}"/>
              </a:ext>
            </a:extLst>
          </p:cNvPr>
          <p:cNvSpPr txBox="1"/>
          <p:nvPr/>
        </p:nvSpPr>
        <p:spPr>
          <a:xfrm>
            <a:off x="4793939" y="690933"/>
            <a:ext cx="2182704" cy="21544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accent5"/>
                </a:solidFill>
              </a:rPr>
              <a:t>Q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6º </a:t>
            </a:r>
            <a:r>
              <a:rPr lang="pt-BR" sz="1000" err="1">
                <a:solidFill>
                  <a:schemeClr val="accent5"/>
                </a:solidFill>
              </a:rPr>
              <a:t>Congreso</a:t>
            </a:r>
            <a:r>
              <a:rPr lang="pt-BR" sz="1000">
                <a:solidFill>
                  <a:schemeClr val="accent5"/>
                </a:solidFill>
              </a:rPr>
              <a:t> Internacional y </a:t>
            </a:r>
            <a:r>
              <a:rPr lang="pt-BR" sz="1000" err="1">
                <a:solidFill>
                  <a:schemeClr val="accent5"/>
                </a:solidFill>
              </a:rPr>
              <a:t>Exposición</a:t>
            </a:r>
            <a:r>
              <a:rPr lang="pt-BR" sz="1000">
                <a:solidFill>
                  <a:schemeClr val="accent5"/>
                </a:solidFill>
              </a:rPr>
              <a:t> </a:t>
            </a:r>
            <a:r>
              <a:rPr lang="pt-BR" sz="1000" err="1">
                <a:solidFill>
                  <a:schemeClr val="accent5"/>
                </a:solidFill>
              </a:rPr>
              <a:t>Minería</a:t>
            </a:r>
            <a:r>
              <a:rPr lang="pt-BR" sz="1000">
                <a:solidFill>
                  <a:schemeClr val="accent5"/>
                </a:solidFill>
              </a:rPr>
              <a:t> </a:t>
            </a:r>
            <a:r>
              <a:rPr lang="pt-BR" sz="1000" err="1">
                <a:solidFill>
                  <a:schemeClr val="accent5"/>
                </a:solidFill>
              </a:rPr>
              <a:t>Perú</a:t>
            </a:r>
            <a:r>
              <a:rPr lang="pt-BR" sz="1000">
                <a:solidFill>
                  <a:schemeClr val="accent5"/>
                </a:solidFill>
              </a:rPr>
              <a:t> y América Latina - CH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Mesa Redonda ABTCP | </a:t>
            </a:r>
            <a:r>
              <a:rPr lang="pt-BR" sz="1000" err="1">
                <a:solidFill>
                  <a:schemeClr val="accent5"/>
                </a:solidFill>
              </a:rPr>
              <a:t>PGs</a:t>
            </a:r>
            <a:r>
              <a:rPr lang="pt-BR" sz="1000">
                <a:solidFill>
                  <a:schemeClr val="accent5"/>
                </a:solidFill>
              </a:rPr>
              <a:t> – ONLIN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OPEX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err="1">
                <a:solidFill>
                  <a:schemeClr val="accent5"/>
                </a:solidFill>
              </a:rPr>
              <a:t>FastMarkets</a:t>
            </a:r>
            <a:r>
              <a:rPr lang="pt-BR" sz="1000">
                <a:solidFill>
                  <a:schemeClr val="accent5"/>
                </a:solidFill>
              </a:rPr>
              <a:t>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ABTCP - 13º Semana de Celulose e Papel  - B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>
                <a:solidFill>
                  <a:schemeClr val="accent5"/>
                </a:solidFill>
              </a:rPr>
              <a:t>Tissue Summit Latam - CH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err="1">
                <a:solidFill>
                  <a:schemeClr val="accent5"/>
                </a:solidFill>
              </a:rPr>
              <a:t>Tailings</a:t>
            </a:r>
            <a:r>
              <a:rPr lang="pt-BR" sz="1000">
                <a:solidFill>
                  <a:schemeClr val="accent5"/>
                </a:solidFill>
              </a:rPr>
              <a:t> - CH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err="1">
                <a:solidFill>
                  <a:schemeClr val="accent5"/>
                </a:solidFill>
              </a:rPr>
              <a:t>Packaging</a:t>
            </a:r>
            <a:r>
              <a:rPr lang="pt-BR" sz="1000">
                <a:solidFill>
                  <a:schemeClr val="accent5"/>
                </a:solidFill>
              </a:rPr>
              <a:t> Summit Latam - CHI</a:t>
            </a:r>
            <a:endParaRPr lang="en-US" sz="1000">
              <a:solidFill>
                <a:schemeClr val="accent5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9CD5EB7-768B-3DA9-9A52-965FB456588B}"/>
              </a:ext>
            </a:extLst>
          </p:cNvPr>
          <p:cNvSpPr txBox="1"/>
          <p:nvPr/>
        </p:nvSpPr>
        <p:spPr>
          <a:xfrm>
            <a:off x="7576506" y="1281548"/>
            <a:ext cx="15104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i="1">
                <a:solidFill>
                  <a:schemeClr val="tx2"/>
                </a:solidFill>
              </a:rPr>
              <a:t>O Papel Magazine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4EC7C509-5C19-7F6C-0A32-707F740F75D1}"/>
              </a:ext>
            </a:extLst>
          </p:cNvPr>
          <p:cNvSpPr/>
          <p:nvPr/>
        </p:nvSpPr>
        <p:spPr>
          <a:xfrm>
            <a:off x="7032823" y="1645723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2EBE794-C1E8-653F-5F80-B943F659AAA8}"/>
              </a:ext>
            </a:extLst>
          </p:cNvPr>
          <p:cNvSpPr txBox="1"/>
          <p:nvPr/>
        </p:nvSpPr>
        <p:spPr>
          <a:xfrm>
            <a:off x="7594814" y="1832539"/>
            <a:ext cx="165150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i="1" err="1">
                <a:solidFill>
                  <a:schemeClr val="tx2"/>
                </a:solidFill>
              </a:rPr>
              <a:t>Celulosa</a:t>
            </a:r>
            <a:r>
              <a:rPr lang="en-US" sz="1050" i="1">
                <a:solidFill>
                  <a:schemeClr val="tx2"/>
                </a:solidFill>
              </a:rPr>
              <a:t> y Papel Mag.</a:t>
            </a:r>
          </a:p>
        </p:txBody>
      </p:sp>
      <p:sp>
        <p:nvSpPr>
          <p:cNvPr id="1024" name="Rectangle: Rounded Corners 1023">
            <a:extLst>
              <a:ext uri="{FF2B5EF4-FFF2-40B4-BE49-F238E27FC236}">
                <a16:creationId xmlns:a16="http://schemas.microsoft.com/office/drawing/2014/main" id="{AE906AE3-3485-E188-09FD-815ABFC14678}"/>
              </a:ext>
            </a:extLst>
          </p:cNvPr>
          <p:cNvSpPr/>
          <p:nvPr/>
        </p:nvSpPr>
        <p:spPr>
          <a:xfrm>
            <a:off x="7032823" y="2116675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9DD102A-1D35-4C43-1FF5-31C89EB6100D}"/>
              </a:ext>
            </a:extLst>
          </p:cNvPr>
          <p:cNvSpPr txBox="1"/>
          <p:nvPr/>
        </p:nvSpPr>
        <p:spPr>
          <a:xfrm>
            <a:off x="7594814" y="2303491"/>
            <a:ext cx="165150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i="1" err="1">
                <a:solidFill>
                  <a:schemeClr val="tx2"/>
                </a:solidFill>
              </a:rPr>
              <a:t>Minería</a:t>
            </a:r>
            <a:r>
              <a:rPr lang="en-US" sz="1050" i="1">
                <a:solidFill>
                  <a:schemeClr val="tx2"/>
                </a:solidFill>
              </a:rPr>
              <a:t> </a:t>
            </a:r>
            <a:r>
              <a:rPr lang="en-US" sz="1050" i="1" err="1">
                <a:solidFill>
                  <a:schemeClr val="tx2"/>
                </a:solidFill>
              </a:rPr>
              <a:t>Chilena</a:t>
            </a:r>
            <a:endParaRPr lang="en-US" sz="1050" i="1">
              <a:solidFill>
                <a:schemeClr val="tx2"/>
              </a:solidFill>
            </a:endParaRPr>
          </a:p>
        </p:txBody>
      </p:sp>
      <p:sp>
        <p:nvSpPr>
          <p:cNvPr id="1027" name="Rectangle: Rounded Corners 1026">
            <a:extLst>
              <a:ext uri="{FF2B5EF4-FFF2-40B4-BE49-F238E27FC236}">
                <a16:creationId xmlns:a16="http://schemas.microsoft.com/office/drawing/2014/main" id="{C76B1D6A-2733-96CC-24C6-CA68E0E386B4}"/>
              </a:ext>
            </a:extLst>
          </p:cNvPr>
          <p:cNvSpPr/>
          <p:nvPr/>
        </p:nvSpPr>
        <p:spPr>
          <a:xfrm>
            <a:off x="7063283" y="2637598"/>
            <a:ext cx="929552" cy="4036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CC5C3594-80DB-8672-D3B6-3F90E78A9B52}"/>
              </a:ext>
            </a:extLst>
          </p:cNvPr>
          <p:cNvSpPr txBox="1"/>
          <p:nvPr/>
        </p:nvSpPr>
        <p:spPr>
          <a:xfrm>
            <a:off x="7625274" y="2824414"/>
            <a:ext cx="165150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i="1">
                <a:solidFill>
                  <a:schemeClr val="tx2"/>
                </a:solidFill>
              </a:rPr>
              <a:t>Rumbo Minero</a:t>
            </a:r>
          </a:p>
        </p:txBody>
      </p:sp>
    </p:spTree>
    <p:extLst>
      <p:ext uri="{BB962C8B-B14F-4D97-AF65-F5344CB8AC3E}">
        <p14:creationId xmlns:p14="http://schemas.microsoft.com/office/powerpoint/2010/main" val="2838659631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B7AA6C16-303B-2876-8402-AEBBF929EDB8}"/>
              </a:ext>
            </a:extLst>
          </p:cNvPr>
          <p:cNvPicPr>
            <a:picLocks noGrp="1" noChangeAspect="1"/>
          </p:cNvPicPr>
          <p:nvPr>
            <p:ph type="pic" sz="quarter" idx="33"/>
          </p:nvPr>
        </p:nvPicPr>
        <p:blipFill>
          <a:blip r:embed="rId2"/>
          <a:srcRect t="10024" b="1002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BFEBCB1B-A495-15BF-78D1-CBCD5DE974A9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3"/>
          <a:srcRect l="12445" r="12445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FC5F8563-2E26-C278-D660-8BF79C6ADC9A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4"/>
          <a:srcRect t="10024" b="1002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76189B23-B349-E9B6-FB0A-AEF8AD743ED3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>
          <a:blip r:embed="rId5"/>
          <a:srcRect t="10024" b="1002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18F233A0-0783-93D3-21E3-E2ACC1217C04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6"/>
          <a:srcRect l="10929" r="1092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9B175816-C3B3-3565-3421-4E0CF2F93171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7"/>
          <a:srcRect t="16403" b="1640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31D8436-90F4-82B8-D7DE-06D625BF4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CC128-00A2-44D0-BA3D-BE47A952C3E6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3E8E3E0-5294-1AE1-20D9-831608144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EC4ACA-D34F-C3ED-91CD-B9A0CD67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FCE3AD2-7940-471A-A728-582D55CEF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KT close to sales and project execu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E891222-580B-54E0-A953-19DE9B4D0B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0963" y="3447194"/>
            <a:ext cx="733709" cy="264349"/>
          </a:xfrm>
        </p:spPr>
        <p:txBody>
          <a:bodyPr/>
          <a:lstStyle/>
          <a:p>
            <a:r>
              <a:rPr lang="en-US" err="1"/>
              <a:t>Sylvamo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325611C-52F6-2776-1D23-1F0965C384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13867" y="3452683"/>
            <a:ext cx="1323165" cy="264349"/>
          </a:xfrm>
        </p:spPr>
        <p:txBody>
          <a:bodyPr/>
          <a:lstStyle/>
          <a:p>
            <a:r>
              <a:rPr lang="en-US"/>
              <a:t>Suzano - </a:t>
            </a:r>
            <a:r>
              <a:rPr lang="en-US" err="1"/>
              <a:t>Aracruz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1493FFC-1D71-690F-7F78-0829401864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97337" y="3452683"/>
            <a:ext cx="1262700" cy="264349"/>
          </a:xfrm>
        </p:spPr>
        <p:txBody>
          <a:bodyPr/>
          <a:lstStyle/>
          <a:p>
            <a:r>
              <a:rPr lang="en-US"/>
              <a:t>Suzano - </a:t>
            </a:r>
            <a:r>
              <a:rPr lang="en-US" err="1"/>
              <a:t>Mucuri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8E00DAB-4A27-EB22-9136-1714CE247DD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80963" y="5751550"/>
            <a:ext cx="954923" cy="264349"/>
          </a:xfrm>
        </p:spPr>
        <p:txBody>
          <a:bodyPr/>
          <a:lstStyle/>
          <a:p>
            <a:r>
              <a:rPr lang="en-US"/>
              <a:t>Guararap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F57C226-1647-8E84-231A-079D55A1E40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13867" y="5757039"/>
            <a:ext cx="597453" cy="264349"/>
          </a:xfrm>
        </p:spPr>
        <p:txBody>
          <a:bodyPr/>
          <a:lstStyle/>
          <a:p>
            <a:r>
              <a:rPr lang="en-US"/>
              <a:t>CMPC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4E5029E-1E9C-B1A6-6873-015EB0022E3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97337" y="5757039"/>
            <a:ext cx="631117" cy="264349"/>
          </a:xfrm>
        </p:spPr>
        <p:txBody>
          <a:bodyPr/>
          <a:lstStyle/>
          <a:p>
            <a:r>
              <a:rPr lang="en-US"/>
              <a:t>Arauc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4B747AF-67FE-0CA7-9488-19943BA2FE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R projects milestones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BC21D9F-9B3F-80F8-8258-9CBA8E742A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099633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0F797C2D-2469-34E5-E5F7-E45D677CEA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1013" y="1557338"/>
            <a:ext cx="3671887" cy="359495"/>
          </a:xfrm>
        </p:spPr>
        <p:txBody>
          <a:bodyPr/>
          <a:lstStyle/>
          <a:p>
            <a:r>
              <a:rPr lang="en-US"/>
              <a:t>Electrostatic Precipitators</a:t>
            </a:r>
          </a:p>
        </p:txBody>
      </p:sp>
      <p:pic>
        <p:nvPicPr>
          <p:cNvPr id="22" name="Content Placeholder 21" descr="A person working in a pipe&#10;&#10;AI-generated content may be incorrect.">
            <a:extLst>
              <a:ext uri="{FF2B5EF4-FFF2-40B4-BE49-F238E27FC236}">
                <a16:creationId xmlns:a16="http://schemas.microsoft.com/office/drawing/2014/main" id="{E47A2C4E-5CBF-87DA-785E-1D86544ADACF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275" y="1960468"/>
            <a:ext cx="3671888" cy="1921622"/>
          </a:xfr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8B2FEA-961E-909E-E5A0-55A45C032F2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97363" y="1557338"/>
            <a:ext cx="3600450" cy="359495"/>
          </a:xfrm>
        </p:spPr>
        <p:txBody>
          <a:bodyPr anchor="t">
            <a:normAutofit/>
          </a:bodyPr>
          <a:lstStyle/>
          <a:p>
            <a:r>
              <a:rPr lang="en-US"/>
              <a:t>Wash Press Services</a:t>
            </a:r>
          </a:p>
        </p:txBody>
      </p:sp>
      <p:pic>
        <p:nvPicPr>
          <p:cNvPr id="34" name="Content Placeholder 33" descr="A close up of a black belt&#10;&#10;AI-generated content may be incorrect.">
            <a:extLst>
              <a:ext uri="{FF2B5EF4-FFF2-40B4-BE49-F238E27FC236}">
                <a16:creationId xmlns:a16="http://schemas.microsoft.com/office/drawing/2014/main" id="{736E1667-7FC5-BD73-EAE0-62ED5719904B}"/>
              </a:ext>
            </a:extLst>
          </p:cNvPr>
          <p:cNvPicPr>
            <a:picLocks noGrp="1" noChangeAspect="1"/>
          </p:cNvPicPr>
          <p:nvPr>
            <p:ph sz="half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629" y="4424030"/>
            <a:ext cx="3600450" cy="1753263"/>
          </a:xfrm>
        </p:spPr>
      </p:pic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E8BA0C3-588F-BC6B-9415-60C6D323DE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042275" y="1557338"/>
            <a:ext cx="3671888" cy="359495"/>
          </a:xfrm>
        </p:spPr>
        <p:txBody>
          <a:bodyPr/>
          <a:lstStyle/>
          <a:p>
            <a:r>
              <a:rPr lang="en-US"/>
              <a:t>ROL Service Center</a:t>
            </a:r>
          </a:p>
        </p:txBody>
      </p:sp>
      <p:pic>
        <p:nvPicPr>
          <p:cNvPr id="19" name="Content Placeholder 18" descr="A close-up of a white sign&#10;&#10;AI-generated content may be incorrect.">
            <a:extLst>
              <a:ext uri="{FF2B5EF4-FFF2-40B4-BE49-F238E27FC236}">
                <a16:creationId xmlns:a16="http://schemas.microsoft.com/office/drawing/2014/main" id="{F0F6C84F-DDBE-0BC8-9344-2FB7501FD9C1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363" y="1975766"/>
            <a:ext cx="3600450" cy="1921621"/>
          </a:xfrm>
        </p:spPr>
      </p:pic>
      <p:pic>
        <p:nvPicPr>
          <p:cNvPr id="39" name="Content Placeholder 38" descr="A person in a safety suit&#10;&#10;AI-generated content may be incorrect.">
            <a:extLst>
              <a:ext uri="{FF2B5EF4-FFF2-40B4-BE49-F238E27FC236}">
                <a16:creationId xmlns:a16="http://schemas.microsoft.com/office/drawing/2014/main" id="{6162D3A9-5E43-74BB-6F20-5D8AC8887CD1}"/>
              </a:ext>
            </a:extLst>
          </p:cNvPr>
          <p:cNvPicPr>
            <a:picLocks noGrp="1" noChangeAspect="1"/>
          </p:cNvPicPr>
          <p:nvPr>
            <p:ph sz="half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276" y="4426116"/>
            <a:ext cx="3671888" cy="1752653"/>
          </a:xfr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414DC6-583D-839B-347B-C86DA83D86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1375" y="6453336"/>
            <a:ext cx="1223963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D0AF890-D344-4C66-AF03-BECF4D855450}" type="datetime3">
              <a:rPr lang="en-US" smtClean="0"/>
              <a:pPr>
                <a:spcAft>
                  <a:spcPts val="600"/>
                </a:spcAft>
              </a:pPr>
              <a:t>27 November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FBD7D2A-A4F4-EB33-1623-0DB05E103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65338" y="6453336"/>
            <a:ext cx="4032250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Valmet   |   Author /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52E9CB3-ADFA-00AC-A665-BE37E6D31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1014" y="6453336"/>
            <a:ext cx="360361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35C78-EDC3-4BE6-A74D-429C10820A80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EAFC14FD-C784-1488-6BCE-6920A3C807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69596" y="6453337"/>
            <a:ext cx="3481312" cy="144018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E47666-0F38-3F05-CDF8-A6968FC91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 anchor="t">
            <a:normAutofit/>
          </a:bodyPr>
          <a:lstStyle/>
          <a:p>
            <a:r>
              <a:rPr lang="en-US"/>
              <a:t>MKT close to sales and project execu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F8367E-5253-064A-7905-030B26B86D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013" y="836712"/>
            <a:ext cx="11233150" cy="504727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Products campaign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97DABE2-C15A-7888-9BC1-EBD409920F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012" y="1945095"/>
            <a:ext cx="3671888" cy="1869847"/>
          </a:xfrm>
          <a:prstGeom prst="rect">
            <a:avLst/>
          </a:prstGeom>
        </p:spPr>
      </p:pic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25BE58FA-7ECA-BF41-F11E-EBF0152527C4}"/>
              </a:ext>
            </a:extLst>
          </p:cNvPr>
          <p:cNvSpPr txBox="1">
            <a:spLocks/>
          </p:cNvSpPr>
          <p:nvPr/>
        </p:nvSpPr>
        <p:spPr>
          <a:xfrm>
            <a:off x="481012" y="4111197"/>
            <a:ext cx="3600450" cy="35949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defRPr sz="20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rgbClr val="242527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ltration</a:t>
            </a:r>
          </a:p>
        </p:txBody>
      </p:sp>
      <p:pic>
        <p:nvPicPr>
          <p:cNvPr id="26" name="Content Placeholder 18">
            <a:extLst>
              <a:ext uri="{FF2B5EF4-FFF2-40B4-BE49-F238E27FC236}">
                <a16:creationId xmlns:a16="http://schemas.microsoft.com/office/drawing/2014/main" id="{06915EEA-805E-36B7-4080-75F9DD672D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12" y="4642298"/>
            <a:ext cx="3600450" cy="1482685"/>
          </a:xfrm>
          <a:prstGeom prst="rect">
            <a:avLst/>
          </a:prstGeom>
        </p:spPr>
      </p:pic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0443B2AF-2BA4-9C87-0E75-2C0E4112B747}"/>
              </a:ext>
            </a:extLst>
          </p:cNvPr>
          <p:cNvSpPr txBox="1">
            <a:spLocks/>
          </p:cNvSpPr>
          <p:nvPr/>
        </p:nvSpPr>
        <p:spPr>
          <a:xfrm>
            <a:off x="4249629" y="4025653"/>
            <a:ext cx="3600450" cy="35949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defRPr sz="20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rgbClr val="242527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lack Belt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3D4CAA41-2243-3CDB-EE59-DA25634CEE5F}"/>
              </a:ext>
            </a:extLst>
          </p:cNvPr>
          <p:cNvSpPr txBox="1">
            <a:spLocks/>
          </p:cNvSpPr>
          <p:nvPr/>
        </p:nvSpPr>
        <p:spPr>
          <a:xfrm>
            <a:off x="8027259" y="4082649"/>
            <a:ext cx="3600450" cy="35949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defRPr sz="20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rgbClr val="242527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SE Experts</a:t>
            </a:r>
          </a:p>
        </p:txBody>
      </p:sp>
    </p:spTree>
    <p:extLst>
      <p:ext uri="{BB962C8B-B14F-4D97-AF65-F5344CB8AC3E}">
        <p14:creationId xmlns:p14="http://schemas.microsoft.com/office/powerpoint/2010/main" val="218657201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DFD47-F009-3362-EE0A-3272E70C8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F4376B-6C23-A592-17A3-6A2264350F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1375" y="6453336"/>
            <a:ext cx="1223963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07E44A3-7437-4589-BAA2-9FC7838371E6}" type="datetime3">
              <a:rPr lang="en-US" smtClean="0"/>
              <a:pPr>
                <a:spcAft>
                  <a:spcPts val="600"/>
                </a:spcAft>
              </a:pPr>
              <a:t>27 November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2BB505E-4949-23DD-FEE4-159A131BD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65338" y="6453336"/>
            <a:ext cx="4032250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Valmet   |   Author /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7CCACA9-10C0-C00E-485C-171099FCB7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1014" y="6453336"/>
            <a:ext cx="360361" cy="14401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35C78-EDC3-4BE6-A74D-429C10820A80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0D7938-25C5-C65F-EC5C-3DDEB3C49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404815"/>
            <a:ext cx="11233150" cy="431897"/>
          </a:xfrm>
        </p:spPr>
        <p:txBody>
          <a:bodyPr anchor="t">
            <a:normAutofit/>
          </a:bodyPr>
          <a:lstStyle/>
          <a:p>
            <a:r>
              <a:rPr lang="en-US"/>
              <a:t>MKT close to sales and project executio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DB0336-3860-72E1-1BD9-8CC1ADCB4E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013" y="836712"/>
            <a:ext cx="11233150" cy="504727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Reference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0F84739-F8A9-F547-3219-6B95B9613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013" y="1354776"/>
            <a:ext cx="5723116" cy="2613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AFDAA33-FF97-D9F5-F8E2-D44F97A4FA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013" y="4181527"/>
            <a:ext cx="8359864" cy="19889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55F0463-9E6B-4CED-46E2-E87CAEF793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7664" y="1681977"/>
            <a:ext cx="5186498" cy="18058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0354973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C3811-3D84-01F2-1EFB-929ED47C6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90AAFE-3E73-F360-36F6-96C068EBE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ustomers stories </a:t>
            </a:r>
          </a:p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0C8A86-2347-5632-1DD1-C20DDE435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KT close to sales and project execu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787E7E-3F21-024E-3387-202862139A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07E44A3-7437-4589-BAA2-9FC7838371E6}" type="datetime3">
              <a:rPr lang="en-US" smtClean="0"/>
              <a:t>27 November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817054A-FD35-BAD0-A62E-A8CEC91634D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Valmet   |   Author /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C8B7C3-344C-AB31-EE4E-263E80C89E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35C78-EDC3-4BE6-A74D-429C10820A80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2DE3F5-3175-BA79-EBFE-F4F9B5B1A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160" y="1559166"/>
            <a:ext cx="5616427" cy="24614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1F80761-927F-04A7-5995-E7D734202D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8925" y="1253893"/>
            <a:ext cx="5315090" cy="42775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555E4C4-FAA8-3CCF-5DD3-A90D8ADA8B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013" y="4319217"/>
            <a:ext cx="5014395" cy="12269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81083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9yRvxkK0STTrgFnZAQ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9yRvxkK0STTrgFnZAQ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9yRvxkK0STTrgFnZAQdA"/>
</p:tagLst>
</file>

<file path=ppt/theme/theme1.xml><?xml version="1.0" encoding="utf-8"?>
<a:theme xmlns:a="http://schemas.openxmlformats.org/drawingml/2006/main" name="Valmet wide">
  <a:themeElements>
    <a:clrScheme name="Valmet 2016">
      <a:dk1>
        <a:sysClr val="windowText" lastClr="000000"/>
      </a:dk1>
      <a:lt1>
        <a:sysClr val="window" lastClr="FFFFFF"/>
      </a:lt1>
      <a:dk2>
        <a:srgbClr val="4C4D4F"/>
      </a:dk2>
      <a:lt2>
        <a:srgbClr val="ECEDEF"/>
      </a:lt2>
      <a:accent1>
        <a:srgbClr val="50B948"/>
      </a:accent1>
      <a:accent2>
        <a:srgbClr val="96D591"/>
      </a:accent2>
      <a:accent3>
        <a:srgbClr val="8B8D8E"/>
      </a:accent3>
      <a:accent4>
        <a:srgbClr val="4C4D4F"/>
      </a:accent4>
      <a:accent5>
        <a:srgbClr val="008ABA"/>
      </a:accent5>
      <a:accent6>
        <a:srgbClr val="766341"/>
      </a:accent6>
      <a:hlink>
        <a:srgbClr val="50B948"/>
      </a:hlink>
      <a:folHlink>
        <a:srgbClr val="4C4D4F"/>
      </a:folHlink>
    </a:clrScheme>
    <a:fontScheme name="Valm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dirty="0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almet_sample.potx" id="{92FE274B-C703-4478-9B3D-C7DFD1856FF4}" vid="{553F045A-BD2D-41A5-B154-A1A7E6678F89}"/>
    </a:ext>
  </a:extLst>
</a:theme>
</file>

<file path=ppt/theme/theme2.xml><?xml version="1.0" encoding="utf-8"?>
<a:theme xmlns:a="http://schemas.openxmlformats.org/drawingml/2006/main" name="Office Theme">
  <a:themeElements>
    <a:clrScheme name="Valmet">
      <a:dk1>
        <a:sysClr val="windowText" lastClr="000000"/>
      </a:dk1>
      <a:lt1>
        <a:sysClr val="window" lastClr="FFFFFF"/>
      </a:lt1>
      <a:dk2>
        <a:srgbClr val="4C4D4F"/>
      </a:dk2>
      <a:lt2>
        <a:srgbClr val="ECEDEF"/>
      </a:lt2>
      <a:accent1>
        <a:srgbClr val="50B948"/>
      </a:accent1>
      <a:accent2>
        <a:srgbClr val="4C4D4F"/>
      </a:accent2>
      <a:accent3>
        <a:srgbClr val="008BAB"/>
      </a:accent3>
      <a:accent4>
        <a:srgbClr val="F89A41"/>
      </a:accent4>
      <a:accent5>
        <a:srgbClr val="766341"/>
      </a:accent5>
      <a:accent6>
        <a:srgbClr val="C41230"/>
      </a:accent6>
      <a:hlink>
        <a:srgbClr val="50B948"/>
      </a:hlink>
      <a:folHlink>
        <a:srgbClr val="4C4D4F"/>
      </a:folHlink>
    </a:clrScheme>
    <a:fontScheme name="Valm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almet">
      <a:dk1>
        <a:sysClr val="windowText" lastClr="000000"/>
      </a:dk1>
      <a:lt1>
        <a:sysClr val="window" lastClr="FFFFFF"/>
      </a:lt1>
      <a:dk2>
        <a:srgbClr val="4C4D4F"/>
      </a:dk2>
      <a:lt2>
        <a:srgbClr val="ECEDEF"/>
      </a:lt2>
      <a:accent1>
        <a:srgbClr val="50B948"/>
      </a:accent1>
      <a:accent2>
        <a:srgbClr val="4C4D4F"/>
      </a:accent2>
      <a:accent3>
        <a:srgbClr val="008BAB"/>
      </a:accent3>
      <a:accent4>
        <a:srgbClr val="F89A41"/>
      </a:accent4>
      <a:accent5>
        <a:srgbClr val="766341"/>
      </a:accent5>
      <a:accent6>
        <a:srgbClr val="C41230"/>
      </a:accent6>
      <a:hlink>
        <a:srgbClr val="50B948"/>
      </a:hlink>
      <a:folHlink>
        <a:srgbClr val="4C4D4F"/>
      </a:folHlink>
    </a:clrScheme>
    <a:fontScheme name="Valm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083835214F0B4F9437B5D06DD493C8" ma:contentTypeVersion="3" ma:contentTypeDescription="Create a new document." ma:contentTypeScope="" ma:versionID="e1b9a994d2dcdadf0c02c90127000663">
  <xsd:schema xmlns:xsd="http://www.w3.org/2001/XMLSchema" xmlns:xs="http://www.w3.org/2001/XMLSchema" xmlns:p="http://schemas.microsoft.com/office/2006/metadata/properties" xmlns:ns2="f737cb72-fcef-4211-b765-19e0bda1e947" targetNamespace="http://schemas.microsoft.com/office/2006/metadata/properties" ma:root="true" ma:fieldsID="b723712a97da68b1550cd18d0f347106" ns2:_="">
    <xsd:import namespace="f737cb72-fcef-4211-b765-19e0bda1e9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37cb72-fcef-4211-b765-19e0bda1e9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85D53CF-5F18-4575-871C-A12592A0697C}">
  <ds:schemaRefs>
    <ds:schemaRef ds:uri="f737cb72-fcef-4211-b765-19e0bda1e94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83A9C85-762B-4E65-9E15-72AE50E2C2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0AEB5F-E3A9-4856-801B-6A28C245656B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http://purl.org/dc/terms/"/>
    <ds:schemaRef ds:uri="f737cb72-fcef-4211-b765-19e0bda1e94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36</Words>
  <Application>Microsoft Office PowerPoint</Application>
  <PresentationFormat>Custom</PresentationFormat>
  <Paragraphs>262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Arial Black</vt:lpstr>
      <vt:lpstr>Wingdings</vt:lpstr>
      <vt:lpstr>Valmet wide</vt:lpstr>
      <vt:lpstr>think-cell Slide</vt:lpstr>
      <vt:lpstr>Marketing expo demonstration</vt:lpstr>
      <vt:lpstr>PowerPoint Presentation</vt:lpstr>
      <vt:lpstr>Marketing responsibilities </vt:lpstr>
      <vt:lpstr>Marketing responsibilities </vt:lpstr>
      <vt:lpstr>PowerPoint Presentation</vt:lpstr>
      <vt:lpstr>MKT close to sales and project execution</vt:lpstr>
      <vt:lpstr>MKT close to sales and project execution</vt:lpstr>
      <vt:lpstr>MKT close to sales and project execution</vt:lpstr>
      <vt:lpstr>MKT close to sales and project execution</vt:lpstr>
      <vt:lpstr>Events</vt:lpstr>
      <vt:lpstr>MKT workflow </vt:lpstr>
      <vt:lpstr>Strengthening our brand</vt:lpstr>
      <vt:lpstr>Guidance for 2026</vt:lpstr>
      <vt:lpstr>Final messag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expo demonstration</dc:title>
  <dc:subject>widescreen</dc:subject>
  <dc:creator>Fernanda Yanaze Maia</dc:creator>
  <dc:description>updated 2/2019</dc:description>
  <cp:lastModifiedBy>Bárbara Arroyo</cp:lastModifiedBy>
  <cp:revision>1</cp:revision>
  <dcterms:created xsi:type="dcterms:W3CDTF">2025-11-17T17:12:03Z</dcterms:created>
  <dcterms:modified xsi:type="dcterms:W3CDTF">2025-11-27T11:2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ValmetConfidentiality">
    <vt:lpwstr>INTERNAL</vt:lpwstr>
  </property>
  <property fmtid="{D5CDD505-2E9C-101B-9397-08002B2CF9AE}" pid="3" name="ContentTypeId">
    <vt:lpwstr>0x010100B7083835214F0B4F9437B5D06DD493C8</vt:lpwstr>
  </property>
</Properties>
</file>